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0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1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829" r:id="rId7"/>
    <p:sldMasterId id="2147483857" r:id="rId8"/>
    <p:sldMasterId id="2147483886" r:id="rId9"/>
    <p:sldMasterId id="2147483914" r:id="rId10"/>
    <p:sldMasterId id="2147483939" r:id="rId11"/>
    <p:sldMasterId id="2147483967" r:id="rId12"/>
    <p:sldMasterId id="2147483980" r:id="rId13"/>
    <p:sldMasterId id="2147483998" r:id="rId14"/>
    <p:sldMasterId id="2147484016" r:id="rId15"/>
    <p:sldMasterId id="2147484044" r:id="rId16"/>
    <p:sldMasterId id="2147484073" r:id="rId17"/>
  </p:sldMasterIdLst>
  <p:notesMasterIdLst>
    <p:notesMasterId r:id="rId44"/>
  </p:notesMasterIdLst>
  <p:sldIdLst>
    <p:sldId id="668" r:id="rId18"/>
    <p:sldId id="684" r:id="rId19"/>
    <p:sldId id="716" r:id="rId20"/>
    <p:sldId id="717" r:id="rId21"/>
    <p:sldId id="718" r:id="rId22"/>
    <p:sldId id="707" r:id="rId23"/>
    <p:sldId id="712" r:id="rId24"/>
    <p:sldId id="713" r:id="rId25"/>
    <p:sldId id="714" r:id="rId26"/>
    <p:sldId id="708" r:id="rId27"/>
    <p:sldId id="709" r:id="rId28"/>
    <p:sldId id="710" r:id="rId29"/>
    <p:sldId id="711" r:id="rId30"/>
    <p:sldId id="719" r:id="rId31"/>
    <p:sldId id="720" r:id="rId32"/>
    <p:sldId id="721" r:id="rId33"/>
    <p:sldId id="722" r:id="rId34"/>
    <p:sldId id="723" r:id="rId35"/>
    <p:sldId id="724" r:id="rId36"/>
    <p:sldId id="725" r:id="rId37"/>
    <p:sldId id="726" r:id="rId38"/>
    <p:sldId id="704" r:id="rId39"/>
    <p:sldId id="705" r:id="rId40"/>
    <p:sldId id="706" r:id="rId41"/>
    <p:sldId id="682" r:id="rId42"/>
    <p:sldId id="285" r:id="rId43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4AA98D0-4922-4CBC-BC91-7B29547F2065}">
          <p14:sldIdLst>
            <p14:sldId id="668"/>
            <p14:sldId id="684"/>
            <p14:sldId id="716"/>
            <p14:sldId id="717"/>
            <p14:sldId id="718"/>
            <p14:sldId id="707"/>
            <p14:sldId id="712"/>
            <p14:sldId id="713"/>
            <p14:sldId id="714"/>
            <p14:sldId id="708"/>
            <p14:sldId id="709"/>
            <p14:sldId id="710"/>
            <p14:sldId id="711"/>
            <p14:sldId id="719"/>
            <p14:sldId id="720"/>
            <p14:sldId id="721"/>
            <p14:sldId id="722"/>
            <p14:sldId id="723"/>
            <p14:sldId id="724"/>
            <p14:sldId id="725"/>
            <p14:sldId id="726"/>
            <p14:sldId id="704"/>
            <p14:sldId id="705"/>
            <p14:sldId id="706"/>
            <p14:sldId id="682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emo" initials="D" lastIdx="5" clrIdx="6">
    <p:extLst>
      <p:ext uri="{19B8F6BF-5375-455C-9EA6-DF929625EA0E}">
        <p15:presenceInfo xmlns:p15="http://schemas.microsoft.com/office/powerpoint/2012/main" userId="Demo" providerId="None"/>
      </p:ext>
    </p:extLst>
  </p:cmAuthor>
  <p:cmAuthor id="1" name="Shashank Khedikar (RGEN Solutions)" initials="SK(S" lastIdx="5" clrIdx="0">
    <p:extLst>
      <p:ext uri="{19B8F6BF-5375-455C-9EA6-DF929625EA0E}">
        <p15:presenceInfo xmlns:p15="http://schemas.microsoft.com/office/powerpoint/2012/main" userId="S-1-5-21-2127521184-1604012920-1887927527-7492838" providerId="AD"/>
      </p:ext>
    </p:extLst>
  </p:cmAuthor>
  <p:cmAuthor id="2" name="Author" initials="A" lastIdx="516" clrIdx="1"/>
  <p:cmAuthor id="4" name="Sanjay Soni" initials="SS" lastIdx="46" clrIdx="3">
    <p:extLst>
      <p:ext uri="{19B8F6BF-5375-455C-9EA6-DF929625EA0E}">
        <p15:presenceInfo xmlns:p15="http://schemas.microsoft.com/office/powerpoint/2012/main" userId="S-1-5-21-2127521184-1604012920-1887927527-2307239" providerId="AD"/>
      </p:ext>
    </p:extLst>
  </p:cmAuthor>
  <p:cmAuthor id="5" name="John Doyle" initials="JD" lastIdx="34" clrIdx="4">
    <p:extLst>
      <p:ext uri="{19B8F6BF-5375-455C-9EA6-DF929625EA0E}">
        <p15:presenceInfo xmlns:p15="http://schemas.microsoft.com/office/powerpoint/2012/main" userId="S-1-5-21-2127521184-1604012920-1887927527-2390110" providerId="AD"/>
      </p:ext>
    </p:extLst>
  </p:cmAuthor>
  <p:cmAuthor id="6" name="Christoph Schuler (Advaiya Inc)" initials="CS(I" lastIdx="2" clrIdx="5">
    <p:extLst>
      <p:ext uri="{19B8F6BF-5375-455C-9EA6-DF929625EA0E}">
        <p15:presenceInfo xmlns:p15="http://schemas.microsoft.com/office/powerpoint/2012/main" userId="Christoph Schuler (Advaiya Inc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E4E4E4"/>
    <a:srgbClr val="EDC30D"/>
    <a:srgbClr val="F2C812"/>
    <a:srgbClr val="000000"/>
    <a:srgbClr val="FFFF00"/>
    <a:srgbClr val="FFFFFF"/>
    <a:srgbClr val="217346"/>
    <a:srgbClr val="00539B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68" autoAdjust="0"/>
    <p:restoredTop sz="94364" autoAdjust="0"/>
  </p:normalViewPr>
  <p:slideViewPr>
    <p:cSldViewPr snapToGrid="0">
      <p:cViewPr varScale="1">
        <p:scale>
          <a:sx n="73" d="100"/>
          <a:sy n="73" d="100"/>
        </p:scale>
        <p:origin x="768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8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3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7.xml"/><Relationship Id="rId17" Type="http://schemas.openxmlformats.org/officeDocument/2006/relationships/slideMaster" Target="slideMasters/slideMaster12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presProps" Target="presProps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A8EEF1-40DE-49EB-B8BE-E849EEAC24BC}" type="datetimeFigureOut">
              <a:rPr lang="en-US" smtClean="0"/>
              <a:t>6/2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2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5C3270-D5B6-4AE0-BFEC-3BB548CBAE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884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anks for taking the time to walk through the main capabilities of Power BI.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If you’re ready to start exploring what Power BI can do for you and your organization, please visit powerbi.com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027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2" b="19386"/>
          <a:stretch/>
        </p:blipFill>
        <p:spPr>
          <a:xfrm>
            <a:off x="0" y="1"/>
            <a:ext cx="12192000" cy="6874524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evel 200 Deck</a:t>
            </a:r>
          </a:p>
        </p:txBody>
      </p:sp>
    </p:spTree>
    <p:extLst>
      <p:ext uri="{BB962C8B-B14F-4D97-AF65-F5344CB8AC3E}">
        <p14:creationId xmlns:p14="http://schemas.microsoft.com/office/powerpoint/2010/main" val="305496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FACCD-C919-44CC-92D4-375B7023AC13}" type="datetimeFigureOut">
              <a:rPr lang="en-US" smtClean="0"/>
              <a:t>6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4CBE3-1647-446E-83A0-529CF1C3A8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7247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4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5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85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66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7377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33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04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45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508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18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2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15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62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00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59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76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05053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969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35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4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99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216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349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704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002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096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533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94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87122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868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441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2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16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1362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06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8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8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31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2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45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14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7437" y="146443"/>
            <a:ext cx="3876675" cy="455722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0" b="1"/>
            </a:lvl1pPr>
          </a:lstStyle>
          <a:p>
            <a:pPr lvl="0"/>
            <a:r>
              <a:rPr lang="en-US" dirty="0" smtClean="0"/>
              <a:t>AGENDA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964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10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70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5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68519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663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2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820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4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302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30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29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267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345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84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7276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107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77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68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6219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5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9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4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80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90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3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55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16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8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08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83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4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47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09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85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ITPro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86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6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01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3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76129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2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87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5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42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539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945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4" y="1217195"/>
            <a:ext cx="5378548" cy="1973570"/>
          </a:xfrm>
        </p:spPr>
        <p:txBody>
          <a:bodyPr>
            <a:spAutoFit/>
          </a:bodyPr>
          <a:lstStyle>
            <a:lvl1pPr>
              <a:defRPr sz="6467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50/50 photo layout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57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7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5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089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927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290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2" tIns="45702" rIns="45702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5"/>
            <a:ext cx="11653522" cy="1956973"/>
          </a:xfrm>
        </p:spPr>
        <p:txBody>
          <a:bodyPr/>
          <a:lstStyle>
            <a:lvl1pPr marL="0" indent="0">
              <a:buNone/>
              <a:defRPr sz="3232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3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75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05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69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38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686" dirty="0" smtClean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3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8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2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2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920" indent="-275295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4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512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78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412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0956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3730" cy="68580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200 Deck</a:t>
            </a:r>
          </a:p>
        </p:txBody>
      </p:sp>
    </p:spTree>
    <p:extLst>
      <p:ext uri="{BB962C8B-B14F-4D97-AF65-F5344CB8AC3E}">
        <p14:creationId xmlns:p14="http://schemas.microsoft.com/office/powerpoint/2010/main" val="206453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793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757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453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269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841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010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23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7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55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58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6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4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37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9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46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8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52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3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76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89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2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83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08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27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14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13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98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77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40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9106244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372211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083366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828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989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608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5508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810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513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889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978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4969616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406400" indent="-182563">
              <a:buFont typeface="Segoe UI Light" panose="020B0502040204020203" pitchFamily="34" charset="0"/>
              <a:buChar char="−"/>
              <a:defRPr sz="3200">
                <a:latin typeface="+mj-lt"/>
              </a:defRPr>
            </a:lvl2pPr>
            <a:lvl3pPr marL="635000" indent="-182563">
              <a:buFont typeface="Courier New" panose="02070309020205020404" pitchFamily="49" charset="0"/>
              <a:buChar char="o"/>
              <a:defRPr sz="28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8096277" y="2376546"/>
            <a:ext cx="3492285" cy="3893625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77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256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06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172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786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6016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9227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413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8312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6589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867817"/>
            <a:ext cx="11653523" cy="4662292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1961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1765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69241" y="1189176"/>
            <a:ext cx="362135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endParaRPr lang="en-US" sz="2353" dirty="0" err="1">
              <a:gradFill>
                <a:gsLst>
                  <a:gs pos="2917">
                    <a:srgbClr val="000000"/>
                  </a:gs>
                  <a:gs pos="30000">
                    <a:srgbClr val="000000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1220691"/>
            <a:ext cx="11653523" cy="615609"/>
          </a:xfrm>
        </p:spPr>
        <p:txBody>
          <a:bodyPr/>
          <a:lstStyle>
            <a:lvl1pPr marL="0" indent="0">
              <a:buNone/>
              <a:defRPr sz="3137"/>
            </a:lvl1pPr>
            <a:lvl2pPr>
              <a:defRPr sz="1765"/>
            </a:lvl2pPr>
            <a:lvl3pPr>
              <a:defRPr sz="1568"/>
            </a:lvl3pPr>
            <a:lvl4pPr>
              <a:defRPr sz="1372"/>
            </a:lvl4pPr>
            <a:lvl5pPr>
              <a:defRPr sz="1372"/>
            </a:lvl5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96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47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4664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6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240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03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63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8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41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71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75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3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76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8943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88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557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698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01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413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4131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981FE-5D1F-41B2-B646-043BF0A5ACBC}" type="datetimeFigureOut">
              <a:rPr lang="en-US" smtClean="0"/>
              <a:t>6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F8BCA-21CF-47CE-9FCA-13F27AE5EC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0890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541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2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575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83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72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5953AD0-7361-4755-9F16-790BE48104A3}" type="datetimeFigureOut">
              <a:rPr lang="en-US" smtClean="0">
                <a:solidFill>
                  <a:srgbClr val="505050"/>
                </a:solidFill>
              </a:rPr>
              <a:pPr/>
              <a:t>6/23/2018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3722D1-D77E-41ED-9FC0-BA6608D9DD8F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58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5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98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92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26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slideLayout" Target="../slideLayouts/slideLayout155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slideLayout" Target="../slideLayouts/slideLayout154.xml"/><Relationship Id="rId27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26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5.xml"/><Relationship Id="rId30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78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561764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61764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367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367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33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4102" r:id="rId2"/>
    <p:sldLayoutId id="2147483675" r:id="rId3"/>
    <p:sldLayoutId id="2147483680" r:id="rId4"/>
    <p:sldLayoutId id="2147483682" r:id="rId5"/>
    <p:sldLayoutId id="2147483686" r:id="rId6"/>
    <p:sldLayoutId id="2147483683" r:id="rId7"/>
    <p:sldLayoutId id="2147483684" r:id="rId8"/>
    <p:sldLayoutId id="2147484103" r:id="rId9"/>
    <p:sldLayoutId id="2147484105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4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2" r:id="rId25"/>
    <p:sldLayoutId id="214748404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4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  <p:sldLayoutId id="2147484064" r:id="rId20"/>
    <p:sldLayoutId id="2147484065" r:id="rId21"/>
    <p:sldLayoutId id="2147484066" r:id="rId22"/>
    <p:sldLayoutId id="2147484067" r:id="rId23"/>
    <p:sldLayoutId id="2147484068" r:id="rId24"/>
    <p:sldLayoutId id="2147484070" r:id="rId25"/>
    <p:sldLayoutId id="2147484071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41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092" r:id="rId19"/>
    <p:sldLayoutId id="2147484093" r:id="rId20"/>
    <p:sldLayoutId id="2147484094" r:id="rId21"/>
    <p:sldLayoutId id="2147484095" r:id="rId22"/>
    <p:sldLayoutId id="2147484096" r:id="rId23"/>
    <p:sldLayoutId id="2147484097" r:id="rId24"/>
    <p:sldLayoutId id="2147484098" r:id="rId25"/>
    <p:sldLayoutId id="2147484099" r:id="rId26"/>
    <p:sldLayoutId id="2147484100" r:id="rId27"/>
    <p:sldLayoutId id="2147484101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4967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8" r:id="rId17"/>
    <p:sldLayoutId id="214748385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03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91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2603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909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6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9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4625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293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18" marR="0" indent="-33611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46" marR="0" indent="-23652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275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354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432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307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6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2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0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4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9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8137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67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1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g"/><Relationship Id="rId3" Type="http://schemas.openxmlformats.org/officeDocument/2006/relationships/hyperlink" Target="http://bit.ly/1ktON16" TargetMode="External"/><Relationship Id="rId7" Type="http://schemas.openxmlformats.org/officeDocument/2006/relationships/hyperlink" Target="https://powerbi.microsoft.com/" TargetMode="External"/><Relationship Id="rId2" Type="http://schemas.openxmlformats.org/officeDocument/2006/relationships/hyperlink" Target="http://tinyurl.com/hj5hdg6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bit.ly/1a9Q0gv" TargetMode="External"/><Relationship Id="rId11" Type="http://schemas.openxmlformats.org/officeDocument/2006/relationships/image" Target="../media/image57.png"/><Relationship Id="rId5" Type="http://schemas.openxmlformats.org/officeDocument/2006/relationships/hyperlink" Target="http://bit.ly/1vwbTLG" TargetMode="External"/><Relationship Id="rId10" Type="http://schemas.openxmlformats.org/officeDocument/2006/relationships/image" Target="../media/image56.jpg"/><Relationship Id="rId4" Type="http://schemas.openxmlformats.org/officeDocument/2006/relationships/hyperlink" Target="http://bit.ly/1FF88KA" TargetMode="External"/><Relationship Id="rId9" Type="http://schemas.openxmlformats.org/officeDocument/2006/relationships/image" Target="../media/image55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" y="14287"/>
            <a:ext cx="12144375" cy="682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73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09575" y="-33338"/>
            <a:ext cx="13011150" cy="6924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7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572" y="362494"/>
            <a:ext cx="4829175" cy="4800600"/>
          </a:xfrm>
          <a:prstGeom prst="rect">
            <a:avLst/>
          </a:prstGeom>
        </p:spPr>
      </p:pic>
      <p:sp>
        <p:nvSpPr>
          <p:cNvPr id="5" name="Notched Right Arrow 4"/>
          <p:cNvSpPr/>
          <p:nvPr/>
        </p:nvSpPr>
        <p:spPr bwMode="auto">
          <a:xfrm>
            <a:off x="5434149" y="2939143"/>
            <a:ext cx="940525" cy="1031966"/>
          </a:xfrm>
          <a:prstGeom prst="notched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4674" y="287637"/>
            <a:ext cx="5724525" cy="59626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951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319" y="246910"/>
            <a:ext cx="6181725" cy="621982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458891" y="2586446"/>
            <a:ext cx="4296262" cy="12926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t will enable the custom data connector but the problem hasn</a:t>
            </a:r>
            <a:r>
              <a:rPr lang="en-GB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’t solved yet.</a:t>
            </a:r>
            <a:endParaRPr lang="da-DK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07363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58" y="510540"/>
            <a:ext cx="1476375" cy="23622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664823" y="744583"/>
            <a:ext cx="488550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o to documents and create the folder like this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Down Arrow 5"/>
          <p:cNvSpPr/>
          <p:nvPr/>
        </p:nvSpPr>
        <p:spPr bwMode="auto">
          <a:xfrm>
            <a:off x="5682343" y="1371600"/>
            <a:ext cx="1214846" cy="1188720"/>
          </a:xfrm>
          <a:prstGeom prst="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2343" y="2771774"/>
            <a:ext cx="1435281" cy="159732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689498" y="4580557"/>
            <a:ext cx="850250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nd then take the path while in deploy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508561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065" y="315414"/>
            <a:ext cx="5644786" cy="394307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618" y="3315764"/>
            <a:ext cx="4965310" cy="2973024"/>
          </a:xfrm>
          <a:prstGeom prst="rect">
            <a:avLst/>
          </a:prstGeom>
        </p:spPr>
      </p:pic>
      <p:sp>
        <p:nvSpPr>
          <p:cNvPr id="5" name="Striped Right Arrow 4"/>
          <p:cNvSpPr/>
          <p:nvPr/>
        </p:nvSpPr>
        <p:spPr bwMode="auto">
          <a:xfrm rot="1565150">
            <a:off x="4503096" y="3004106"/>
            <a:ext cx="2291465" cy="1136469"/>
          </a:xfrm>
          <a:prstGeom prst="striped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995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34983" y="202869"/>
            <a:ext cx="1162017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rgbClr val="222222"/>
                </a:solidFill>
                <a:latin typeface="Open Sans"/>
              </a:rPr>
              <a:t>“</a:t>
            </a:r>
            <a:r>
              <a:rPr lang="en-GB" sz="2400" dirty="0" err="1" smtClean="0">
                <a:solidFill>
                  <a:srgbClr val="222222"/>
                </a:solidFill>
                <a:latin typeface="Open Sans"/>
              </a:rPr>
              <a:t>World_new.pq</a:t>
            </a:r>
            <a:r>
              <a:rPr lang="en-GB" sz="2400" dirty="0">
                <a:solidFill>
                  <a:srgbClr val="222222"/>
                </a:solidFill>
                <a:latin typeface="Open Sans"/>
              </a:rPr>
              <a:t>” fi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222222"/>
                </a:solidFill>
                <a:latin typeface="Open Sans"/>
              </a:rPr>
              <a:t>Where all of the magic happens. </a:t>
            </a:r>
            <a:endParaRPr lang="en-GB" sz="2400" dirty="0" smtClean="0">
              <a:solidFill>
                <a:srgbClr val="222222"/>
              </a:solidFill>
              <a:latin typeface="Open San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rgbClr val="222222"/>
                </a:solidFill>
                <a:latin typeface="Open Sans"/>
              </a:rPr>
              <a:t>All </a:t>
            </a:r>
            <a:r>
              <a:rPr lang="en-GB" sz="2400" dirty="0">
                <a:solidFill>
                  <a:srgbClr val="222222"/>
                </a:solidFill>
                <a:latin typeface="Open Sans"/>
              </a:rPr>
              <a:t>of your functions and logic are here, </a:t>
            </a:r>
            <a:endParaRPr lang="en-GB" sz="2400" dirty="0" smtClean="0">
              <a:solidFill>
                <a:srgbClr val="222222"/>
              </a:solidFill>
              <a:latin typeface="Open San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rgbClr val="222222"/>
                </a:solidFill>
                <a:latin typeface="Open Sans"/>
              </a:rPr>
              <a:t>and </a:t>
            </a:r>
            <a:r>
              <a:rPr lang="en-GB" sz="2400" dirty="0">
                <a:solidFill>
                  <a:srgbClr val="222222"/>
                </a:solidFill>
                <a:latin typeface="Open Sans"/>
              </a:rPr>
              <a:t>the function(s) annotated with your Publish attribute are going to show up in your “Get Data” list</a:t>
            </a:r>
            <a:r>
              <a:rPr lang="en-GB" sz="2400" dirty="0" smtClean="0">
                <a:solidFill>
                  <a:srgbClr val="222222"/>
                </a:solidFill>
                <a:latin typeface="Open Sans"/>
              </a:rPr>
              <a:t>.</a:t>
            </a:r>
          </a:p>
          <a:p>
            <a:pPr lvl="1"/>
            <a:endParaRPr lang="en-GB" sz="2400" dirty="0">
              <a:solidFill>
                <a:srgbClr val="222222"/>
              </a:solidFill>
              <a:latin typeface="Open Sans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rgbClr val="222222"/>
                </a:solidFill>
                <a:latin typeface="Open Sans"/>
              </a:rPr>
              <a:t>“</a:t>
            </a:r>
            <a:r>
              <a:rPr lang="en-GB" sz="2400" dirty="0" err="1" smtClean="0">
                <a:solidFill>
                  <a:srgbClr val="222222"/>
                </a:solidFill>
                <a:latin typeface="Open Sans"/>
              </a:rPr>
              <a:t>World_new.query.pq</a:t>
            </a:r>
            <a:r>
              <a:rPr lang="en-GB" sz="2400" dirty="0">
                <a:solidFill>
                  <a:srgbClr val="222222"/>
                </a:solidFill>
                <a:latin typeface="Open Sans"/>
              </a:rPr>
              <a:t>” fi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222222"/>
                </a:solidFill>
                <a:latin typeface="Open Sans"/>
              </a:rPr>
              <a:t>Your test file. </a:t>
            </a:r>
            <a:endParaRPr lang="en-GB" sz="2400" dirty="0" smtClean="0">
              <a:solidFill>
                <a:srgbClr val="222222"/>
              </a:solidFill>
              <a:latin typeface="Open San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rgbClr val="222222"/>
                </a:solidFill>
                <a:latin typeface="Open Sans"/>
              </a:rPr>
              <a:t>When </a:t>
            </a:r>
            <a:r>
              <a:rPr lang="en-GB" sz="2400" dirty="0">
                <a:solidFill>
                  <a:srgbClr val="222222"/>
                </a:solidFill>
                <a:latin typeface="Open Sans"/>
              </a:rPr>
              <a:t>you debug in Visual Studio, this is going to be the entry point for testing functions from your .</a:t>
            </a:r>
            <a:r>
              <a:rPr lang="en-GB" sz="2400" dirty="0" err="1">
                <a:solidFill>
                  <a:srgbClr val="222222"/>
                </a:solidFill>
                <a:latin typeface="Open Sans"/>
              </a:rPr>
              <a:t>pq</a:t>
            </a:r>
            <a:r>
              <a:rPr lang="en-GB" sz="2400" dirty="0">
                <a:solidFill>
                  <a:srgbClr val="222222"/>
                </a:solidFill>
                <a:latin typeface="Open Sans"/>
              </a:rPr>
              <a:t> file</a:t>
            </a:r>
            <a:r>
              <a:rPr lang="en-GB" sz="2400" dirty="0" smtClean="0">
                <a:solidFill>
                  <a:srgbClr val="222222"/>
                </a:solidFill>
                <a:latin typeface="Open Sans"/>
              </a:rPr>
              <a:t>.</a:t>
            </a:r>
          </a:p>
          <a:p>
            <a:pPr lvl="1"/>
            <a:endParaRPr lang="en-GB" sz="2400" dirty="0">
              <a:solidFill>
                <a:srgbClr val="222222"/>
              </a:solidFill>
              <a:latin typeface="Open Sans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222222"/>
                </a:solidFill>
                <a:latin typeface="Open Sans"/>
              </a:rPr>
              <a:t>Connector ic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222222"/>
                </a:solidFill>
                <a:latin typeface="Open Sans"/>
              </a:rPr>
              <a:t>A list of eight PNG files that represent the various icons for your connector. </a:t>
            </a:r>
            <a:endParaRPr lang="en-GB" sz="2400" dirty="0" smtClean="0">
              <a:solidFill>
                <a:srgbClr val="222222"/>
              </a:solidFill>
              <a:latin typeface="Open San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rgbClr val="222222"/>
                </a:solidFill>
                <a:latin typeface="Open Sans"/>
              </a:rPr>
              <a:t>These </a:t>
            </a:r>
            <a:r>
              <a:rPr lang="en-GB" sz="2400" dirty="0">
                <a:solidFill>
                  <a:srgbClr val="222222"/>
                </a:solidFill>
                <a:latin typeface="Open Sans"/>
              </a:rPr>
              <a:t>are created automatically with the Power BI logo, and you can swap them out with your own icons if you want.</a:t>
            </a:r>
            <a:endParaRPr lang="en-GB" sz="2400" b="0" i="0" dirty="0">
              <a:solidFill>
                <a:srgbClr val="222222"/>
              </a:solidFill>
              <a:effectLst/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50247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628" y="106104"/>
            <a:ext cx="11731744" cy="6131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0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639" y="408116"/>
            <a:ext cx="5504225" cy="560229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826762" y="2204498"/>
            <a:ext cx="6096000" cy="187743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222222"/>
                </a:solidFill>
                <a:latin typeface="Open Sans"/>
              </a:rPr>
              <a:t>Type a quick line of M code into the “.</a:t>
            </a:r>
            <a:r>
              <a:rPr lang="en-GB" dirty="0" err="1">
                <a:solidFill>
                  <a:srgbClr val="222222"/>
                </a:solidFill>
                <a:latin typeface="Open Sans"/>
              </a:rPr>
              <a:t>query.pq</a:t>
            </a:r>
            <a:r>
              <a:rPr lang="en-GB" dirty="0">
                <a:solidFill>
                  <a:srgbClr val="222222"/>
                </a:solidFill>
                <a:latin typeface="Open Sans"/>
              </a:rPr>
              <a:t>” file, and hit </a:t>
            </a:r>
            <a:r>
              <a:rPr lang="en-GB" sz="8000" dirty="0">
                <a:solidFill>
                  <a:srgbClr val="FF0000"/>
                </a:solidFill>
                <a:latin typeface="Open Sans"/>
              </a:rPr>
              <a:t>F5</a:t>
            </a:r>
            <a:r>
              <a:rPr lang="en-GB" dirty="0">
                <a:solidFill>
                  <a:srgbClr val="222222"/>
                </a:solidFill>
                <a:latin typeface="Open Sans"/>
              </a:rPr>
              <a:t> to see the results in your “M Query Output” Window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2567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315" y="493531"/>
            <a:ext cx="4981575" cy="54006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5372" y="2664824"/>
            <a:ext cx="3150390" cy="746759"/>
          </a:xfrm>
          <a:prstGeom prst="rect">
            <a:avLst/>
          </a:prstGeom>
        </p:spPr>
      </p:pic>
      <p:sp>
        <p:nvSpPr>
          <p:cNvPr id="6" name="Striped Right Arrow 5"/>
          <p:cNvSpPr/>
          <p:nvPr/>
        </p:nvSpPr>
        <p:spPr bwMode="auto">
          <a:xfrm>
            <a:off x="6061166" y="2664824"/>
            <a:ext cx="1280160" cy="658586"/>
          </a:xfrm>
          <a:prstGeom prst="striped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33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3789" y="502920"/>
            <a:ext cx="5591175" cy="457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" y="605926"/>
            <a:ext cx="6053789" cy="4810125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2063931" y="1946366"/>
            <a:ext cx="4976949" cy="195943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4835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62149" y="783771"/>
            <a:ext cx="8791302" cy="281000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8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88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NECTORS</a:t>
            </a:r>
            <a:endParaRPr lang="en-GB" sz="88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415268" y="4676503"/>
            <a:ext cx="2050869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3200" i="1" dirty="0">
                <a:solidFill>
                  <a:srgbClr val="00B050"/>
                </a:solidFill>
              </a:rPr>
              <a:t>b</a:t>
            </a:r>
            <a:r>
              <a:rPr lang="en-GB" sz="3200" i="1" dirty="0" smtClean="0">
                <a:solidFill>
                  <a:srgbClr val="00B050"/>
                </a:solidFill>
              </a:rPr>
              <a:t>ut why</a:t>
            </a:r>
            <a:endParaRPr lang="en-GB" sz="3200" i="1" dirty="0" smtClean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80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0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9966" y="2203165"/>
            <a:ext cx="4267200" cy="43529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427" y="272822"/>
            <a:ext cx="5588761" cy="4220801"/>
          </a:xfrm>
          <a:prstGeom prst="rect">
            <a:avLst/>
          </a:prstGeom>
        </p:spPr>
      </p:pic>
      <p:sp>
        <p:nvSpPr>
          <p:cNvPr id="6" name="Notched Right Arrow 5"/>
          <p:cNvSpPr/>
          <p:nvPr/>
        </p:nvSpPr>
        <p:spPr bwMode="auto">
          <a:xfrm rot="2368237">
            <a:off x="5383487" y="2152895"/>
            <a:ext cx="1998775" cy="1606731"/>
          </a:xfrm>
          <a:prstGeom prst="notched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89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2587" y="520865"/>
            <a:ext cx="4381500" cy="55626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415971" y="520865"/>
            <a:ext cx="6048375" cy="6524625"/>
          </a:xfrm>
          <a:prstGeom prst="rect">
            <a:avLst/>
          </a:prstGeom>
        </p:spPr>
      </p:pic>
      <p:sp>
        <p:nvSpPr>
          <p:cNvPr id="6" name="Striped Right Arrow 5"/>
          <p:cNvSpPr/>
          <p:nvPr/>
        </p:nvSpPr>
        <p:spPr bwMode="auto">
          <a:xfrm rot="20342171">
            <a:off x="3514588" y="4165296"/>
            <a:ext cx="4479418" cy="1319969"/>
          </a:xfrm>
          <a:prstGeom prst="striped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26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>
          <a:xfrm>
            <a:off x="-1560656" y="1646173"/>
            <a:ext cx="4507841" cy="1371909"/>
            <a:chOff x="561456" y="1257386"/>
            <a:chExt cx="4507841" cy="1371909"/>
          </a:xfrm>
        </p:grpSpPr>
        <p:grpSp>
          <p:nvGrpSpPr>
            <p:cNvPr id="50" name="Group 49"/>
            <p:cNvGrpSpPr/>
            <p:nvPr/>
          </p:nvGrpSpPr>
          <p:grpSpPr>
            <a:xfrm>
              <a:off x="1533303" y="1257386"/>
              <a:ext cx="2212159" cy="839073"/>
              <a:chOff x="1485156" y="4944142"/>
              <a:chExt cx="2212159" cy="839073"/>
            </a:xfrm>
          </p:grpSpPr>
          <p:sp>
            <p:nvSpPr>
              <p:cNvPr id="54" name="Rounded Rectangle 53"/>
              <p:cNvSpPr/>
              <p:nvPr/>
            </p:nvSpPr>
            <p:spPr>
              <a:xfrm>
                <a:off x="1485156" y="5389811"/>
                <a:ext cx="2212159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Rounded Rectangle 54"/>
              <p:cNvSpPr/>
              <p:nvPr/>
            </p:nvSpPr>
            <p:spPr>
              <a:xfrm>
                <a:off x="2414298" y="5130210"/>
                <a:ext cx="1283017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Rounded Rectangle 55"/>
              <p:cNvSpPr/>
              <p:nvPr/>
            </p:nvSpPr>
            <p:spPr>
              <a:xfrm>
                <a:off x="2738331" y="4944142"/>
                <a:ext cx="628941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1" name="Group 50"/>
            <p:cNvGrpSpPr/>
            <p:nvPr/>
          </p:nvGrpSpPr>
          <p:grpSpPr>
            <a:xfrm>
              <a:off x="561456" y="1820630"/>
              <a:ext cx="4507841" cy="808665"/>
              <a:chOff x="81879" y="5130210"/>
              <a:chExt cx="4507841" cy="653005"/>
            </a:xfrm>
          </p:grpSpPr>
          <p:sp>
            <p:nvSpPr>
              <p:cNvPr id="52" name="Rounded Rectangle 51"/>
              <p:cNvSpPr/>
              <p:nvPr/>
            </p:nvSpPr>
            <p:spPr>
              <a:xfrm>
                <a:off x="81879" y="5389811"/>
                <a:ext cx="4507841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ounded Rectangle 52"/>
              <p:cNvSpPr/>
              <p:nvPr/>
            </p:nvSpPr>
            <p:spPr>
              <a:xfrm>
                <a:off x="1708531" y="5130210"/>
                <a:ext cx="2030948" cy="393404"/>
              </a:xfrm>
              <a:prstGeom prst="roundRect">
                <a:avLst>
                  <a:gd name="adj" fmla="val 24775"/>
                </a:avLst>
              </a:prstGeom>
              <a:solidFill>
                <a:srgbClr val="F6D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4" name="Group 43"/>
          <p:cNvGrpSpPr/>
          <p:nvPr/>
        </p:nvGrpSpPr>
        <p:grpSpPr>
          <a:xfrm>
            <a:off x="2488359" y="237015"/>
            <a:ext cx="2167536" cy="808665"/>
            <a:chOff x="2422183" y="5130210"/>
            <a:chExt cx="2167536" cy="653005"/>
          </a:xfrm>
        </p:grpSpPr>
        <p:sp>
          <p:nvSpPr>
            <p:cNvPr id="45" name="Rounded Rectangle 44"/>
            <p:cNvSpPr/>
            <p:nvPr/>
          </p:nvSpPr>
          <p:spPr>
            <a:xfrm>
              <a:off x="2884966" y="5389811"/>
              <a:ext cx="1704753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3714305" y="5130210"/>
              <a:ext cx="503275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2422183" y="5260731"/>
              <a:ext cx="1512732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8358581" y="3412303"/>
            <a:ext cx="2167536" cy="808665"/>
            <a:chOff x="2422183" y="5130210"/>
            <a:chExt cx="2167536" cy="653005"/>
          </a:xfrm>
        </p:grpSpPr>
        <p:sp>
          <p:nvSpPr>
            <p:cNvPr id="58" name="Rounded Rectangle 57"/>
            <p:cNvSpPr/>
            <p:nvPr/>
          </p:nvSpPr>
          <p:spPr>
            <a:xfrm>
              <a:off x="2884966" y="5389811"/>
              <a:ext cx="1704753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3714305" y="5130210"/>
              <a:ext cx="503275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2422183" y="5260731"/>
              <a:ext cx="1512732" cy="393404"/>
            </a:xfrm>
            <a:prstGeom prst="roundRect">
              <a:avLst>
                <a:gd name="adj" fmla="val 24775"/>
              </a:avLst>
            </a:prstGeom>
            <a:solidFill>
              <a:srgbClr val="F6D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Freeform 2"/>
          <p:cNvSpPr/>
          <p:nvPr/>
        </p:nvSpPr>
        <p:spPr>
          <a:xfrm>
            <a:off x="1480984" y="369667"/>
            <a:ext cx="9648226" cy="6873344"/>
          </a:xfrm>
          <a:custGeom>
            <a:avLst/>
            <a:gdLst>
              <a:gd name="connsiteX0" fmla="*/ 0 w 9998242"/>
              <a:gd name="connsiteY0" fmla="*/ 5991726 h 7122695"/>
              <a:gd name="connsiteX1" fmla="*/ 120315 w 9998242"/>
              <a:gd name="connsiteY1" fmla="*/ 5197642 h 7122695"/>
              <a:gd name="connsiteX2" fmla="*/ 577515 w 9998242"/>
              <a:gd name="connsiteY2" fmla="*/ 4199021 h 7122695"/>
              <a:gd name="connsiteX3" fmla="*/ 926431 w 9998242"/>
              <a:gd name="connsiteY3" fmla="*/ 3272589 h 7122695"/>
              <a:gd name="connsiteX4" fmla="*/ 1888958 w 9998242"/>
              <a:gd name="connsiteY4" fmla="*/ 3561347 h 7122695"/>
              <a:gd name="connsiteX5" fmla="*/ 2105526 w 9998242"/>
              <a:gd name="connsiteY5" fmla="*/ 2875547 h 7122695"/>
              <a:gd name="connsiteX6" fmla="*/ 2382252 w 9998242"/>
              <a:gd name="connsiteY6" fmla="*/ 2779295 h 7122695"/>
              <a:gd name="connsiteX7" fmla="*/ 2719136 w 9998242"/>
              <a:gd name="connsiteY7" fmla="*/ 1239252 h 7122695"/>
              <a:gd name="connsiteX8" fmla="*/ 3056021 w 9998242"/>
              <a:gd name="connsiteY8" fmla="*/ 1130968 h 7122695"/>
              <a:gd name="connsiteX9" fmla="*/ 3188368 w 9998242"/>
              <a:gd name="connsiteY9" fmla="*/ 0 h 7122695"/>
              <a:gd name="connsiteX10" fmla="*/ 4379494 w 9998242"/>
              <a:gd name="connsiteY10" fmla="*/ 348916 h 7122695"/>
              <a:gd name="connsiteX11" fmla="*/ 4535905 w 9998242"/>
              <a:gd name="connsiteY11" fmla="*/ 577516 h 7122695"/>
              <a:gd name="connsiteX12" fmla="*/ 4788568 w 9998242"/>
              <a:gd name="connsiteY12" fmla="*/ 649705 h 7122695"/>
              <a:gd name="connsiteX13" fmla="*/ 4969042 w 9998242"/>
              <a:gd name="connsiteY13" fmla="*/ 962526 h 7122695"/>
              <a:gd name="connsiteX14" fmla="*/ 5101389 w 9998242"/>
              <a:gd name="connsiteY14" fmla="*/ 986589 h 7122695"/>
              <a:gd name="connsiteX15" fmla="*/ 5293894 w 9998242"/>
              <a:gd name="connsiteY15" fmla="*/ 2129589 h 7122695"/>
              <a:gd name="connsiteX16" fmla="*/ 5666873 w 9998242"/>
              <a:gd name="connsiteY16" fmla="*/ 2249905 h 7122695"/>
              <a:gd name="connsiteX17" fmla="*/ 6954252 w 9998242"/>
              <a:gd name="connsiteY17" fmla="*/ 3128210 h 7122695"/>
              <a:gd name="connsiteX18" fmla="*/ 7303168 w 9998242"/>
              <a:gd name="connsiteY18" fmla="*/ 3080084 h 7122695"/>
              <a:gd name="connsiteX19" fmla="*/ 8061158 w 9998242"/>
              <a:gd name="connsiteY19" fmla="*/ 2947737 h 7122695"/>
              <a:gd name="connsiteX20" fmla="*/ 8698831 w 9998242"/>
              <a:gd name="connsiteY20" fmla="*/ 4511842 h 7122695"/>
              <a:gd name="connsiteX21" fmla="*/ 9156031 w 9998242"/>
              <a:gd name="connsiteY21" fmla="*/ 4572000 h 7122695"/>
              <a:gd name="connsiteX22" fmla="*/ 9396663 w 9998242"/>
              <a:gd name="connsiteY22" fmla="*/ 5269831 h 7122695"/>
              <a:gd name="connsiteX23" fmla="*/ 9974179 w 9998242"/>
              <a:gd name="connsiteY23" fmla="*/ 5378116 h 7122695"/>
              <a:gd name="connsiteX24" fmla="*/ 9998242 w 9998242"/>
              <a:gd name="connsiteY24" fmla="*/ 6918158 h 7122695"/>
              <a:gd name="connsiteX25" fmla="*/ 156410 w 9998242"/>
              <a:gd name="connsiteY25" fmla="*/ 7122695 h 7122695"/>
              <a:gd name="connsiteX26" fmla="*/ 0 w 9998242"/>
              <a:gd name="connsiteY26" fmla="*/ 5991726 h 7122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998242" h="7122695">
                <a:moveTo>
                  <a:pt x="0" y="5991726"/>
                </a:moveTo>
                <a:lnTo>
                  <a:pt x="120315" y="5197642"/>
                </a:lnTo>
                <a:lnTo>
                  <a:pt x="577515" y="4199021"/>
                </a:lnTo>
                <a:lnTo>
                  <a:pt x="926431" y="3272589"/>
                </a:lnTo>
                <a:lnTo>
                  <a:pt x="1888958" y="3561347"/>
                </a:lnTo>
                <a:lnTo>
                  <a:pt x="2105526" y="2875547"/>
                </a:lnTo>
                <a:lnTo>
                  <a:pt x="2382252" y="2779295"/>
                </a:lnTo>
                <a:lnTo>
                  <a:pt x="2719136" y="1239252"/>
                </a:lnTo>
                <a:lnTo>
                  <a:pt x="3056021" y="1130968"/>
                </a:lnTo>
                <a:lnTo>
                  <a:pt x="3188368" y="0"/>
                </a:lnTo>
                <a:lnTo>
                  <a:pt x="4379494" y="348916"/>
                </a:lnTo>
                <a:lnTo>
                  <a:pt x="4535905" y="577516"/>
                </a:lnTo>
                <a:lnTo>
                  <a:pt x="4788568" y="649705"/>
                </a:lnTo>
                <a:lnTo>
                  <a:pt x="4969042" y="962526"/>
                </a:lnTo>
                <a:lnTo>
                  <a:pt x="5101389" y="986589"/>
                </a:lnTo>
                <a:lnTo>
                  <a:pt x="5293894" y="2129589"/>
                </a:lnTo>
                <a:lnTo>
                  <a:pt x="5666873" y="2249905"/>
                </a:lnTo>
                <a:lnTo>
                  <a:pt x="6954252" y="3128210"/>
                </a:lnTo>
                <a:lnTo>
                  <a:pt x="7303168" y="3080084"/>
                </a:lnTo>
                <a:lnTo>
                  <a:pt x="8061158" y="2947737"/>
                </a:lnTo>
                <a:lnTo>
                  <a:pt x="8698831" y="4511842"/>
                </a:lnTo>
                <a:lnTo>
                  <a:pt x="9156031" y="4572000"/>
                </a:lnTo>
                <a:lnTo>
                  <a:pt x="9396663" y="5269831"/>
                </a:lnTo>
                <a:lnTo>
                  <a:pt x="9974179" y="5378116"/>
                </a:lnTo>
                <a:lnTo>
                  <a:pt x="9998242" y="6918158"/>
                </a:lnTo>
                <a:lnTo>
                  <a:pt x="156410" y="7122695"/>
                </a:lnTo>
                <a:lnTo>
                  <a:pt x="0" y="599172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453086" y="5433856"/>
            <a:ext cx="60542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BACKGROUND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725714" y="4098850"/>
            <a:ext cx="4882280" cy="17968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OLOR</a:t>
            </a:r>
            <a:endParaRPr kumimoji="0" lang="en-US" sz="138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508940" y="4696576"/>
            <a:ext cx="3856695" cy="10692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BALANCE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6851906" y="4322337"/>
            <a:ext cx="2855861" cy="683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IMPLICITY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7402212" y="5454679"/>
            <a:ext cx="381982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ONTRAS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6448461" y="3681497"/>
            <a:ext cx="312451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PACING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2079166" y="3686057"/>
            <a:ext cx="4118118" cy="8910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ALIGNMEN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4523673" y="615969"/>
            <a:ext cx="1209974" cy="5049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GRID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4410322" y="893202"/>
            <a:ext cx="1786962" cy="8019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LINES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3350424" y="3079843"/>
            <a:ext cx="4680752" cy="8910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ONSISTENCY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3803063" y="2346107"/>
            <a:ext cx="3230206" cy="10692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HAPES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3933840" y="1287285"/>
            <a:ext cx="2574327" cy="15147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FAE9A0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IZE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srgbClr val="FAE9A0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215021"/>
            <a:ext cx="12192000" cy="668689"/>
          </a:xfrm>
          <a:prstGeom prst="rect">
            <a:avLst/>
          </a:prstGeom>
          <a:solidFill>
            <a:schemeClr val="tx1"/>
          </a:solidFill>
          <a:ln w="476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1491916" y="6232358"/>
            <a:ext cx="9649326" cy="818147"/>
          </a:xfrm>
          <a:custGeom>
            <a:avLst/>
            <a:gdLst>
              <a:gd name="connsiteX0" fmla="*/ 96252 w 9649326"/>
              <a:gd name="connsiteY0" fmla="*/ 782053 h 818147"/>
              <a:gd name="connsiteX1" fmla="*/ 0 w 9649326"/>
              <a:gd name="connsiteY1" fmla="*/ 0 h 818147"/>
              <a:gd name="connsiteX2" fmla="*/ 9649326 w 9649326"/>
              <a:gd name="connsiteY2" fmla="*/ 0 h 818147"/>
              <a:gd name="connsiteX3" fmla="*/ 9637295 w 9649326"/>
              <a:gd name="connsiteY3" fmla="*/ 818147 h 818147"/>
              <a:gd name="connsiteX4" fmla="*/ 96252 w 9649326"/>
              <a:gd name="connsiteY4" fmla="*/ 782053 h 818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49326" h="818147">
                <a:moveTo>
                  <a:pt x="96252" y="782053"/>
                </a:moveTo>
                <a:lnTo>
                  <a:pt x="0" y="0"/>
                </a:lnTo>
                <a:lnTo>
                  <a:pt x="9649326" y="0"/>
                </a:lnTo>
                <a:lnTo>
                  <a:pt x="9637295" y="818147"/>
                </a:lnTo>
                <a:lnTo>
                  <a:pt x="96252" y="78205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60421" y="280930"/>
            <a:ext cx="266932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20%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2268767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48148E-6 L 0.13815 -0.00046 " pathEditMode="relative" rAng="0" ptsTypes="AA">
                                      <p:cBhvr>
                                        <p:cTn id="6" dur="7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901" y="-2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0.00324 L 0.13333 0.00046 " pathEditMode="relative" rAng="0" ptsTypes="AA">
                                      <p:cBhvr>
                                        <p:cTn id="8" dur="7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667" y="185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3.7037E-6 L 0.22005 0.00162 " pathEditMode="relative" rAng="0" ptsTypes="AA">
                                      <p:cBhvr>
                                        <p:cTn id="10" dur="7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03" y="69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61" grpId="0"/>
      <p:bldP spid="63" grpId="0"/>
      <p:bldP spid="125" grpId="0"/>
      <p:bldP spid="126" grpId="0"/>
      <p:bldP spid="127" grpId="0"/>
      <p:bldP spid="128" grpId="0"/>
      <p:bldP spid="129" grpId="0"/>
      <p:bldP spid="130" grpId="0"/>
      <p:bldP spid="131" grpId="0"/>
      <p:bldP spid="132" grpId="0"/>
      <p:bldP spid="133" grpId="0"/>
      <p:bldP spid="6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/>
        </p:nvSpPr>
        <p:spPr>
          <a:xfrm>
            <a:off x="1106905" y="-145778"/>
            <a:ext cx="10058400" cy="7014412"/>
          </a:xfrm>
          <a:custGeom>
            <a:avLst/>
            <a:gdLst>
              <a:gd name="connsiteX0" fmla="*/ 457200 w 10058400"/>
              <a:gd name="connsiteY0" fmla="*/ 72189 h 7110663"/>
              <a:gd name="connsiteX1" fmla="*/ 577516 w 10058400"/>
              <a:gd name="connsiteY1" fmla="*/ 914400 h 7110663"/>
              <a:gd name="connsiteX2" fmla="*/ 228600 w 10058400"/>
              <a:gd name="connsiteY2" fmla="*/ 1515979 h 7110663"/>
              <a:gd name="connsiteX3" fmla="*/ 156411 w 10058400"/>
              <a:gd name="connsiteY3" fmla="*/ 2442410 h 7110663"/>
              <a:gd name="connsiteX4" fmla="*/ 0 w 10058400"/>
              <a:gd name="connsiteY4" fmla="*/ 2646947 h 7110663"/>
              <a:gd name="connsiteX5" fmla="*/ 252663 w 10058400"/>
              <a:gd name="connsiteY5" fmla="*/ 4138863 h 7110663"/>
              <a:gd name="connsiteX6" fmla="*/ 613611 w 10058400"/>
              <a:gd name="connsiteY6" fmla="*/ 4271210 h 7110663"/>
              <a:gd name="connsiteX7" fmla="*/ 854242 w 10058400"/>
              <a:gd name="connsiteY7" fmla="*/ 5534526 h 7110663"/>
              <a:gd name="connsiteX8" fmla="*/ 1143000 w 10058400"/>
              <a:gd name="connsiteY8" fmla="*/ 5522495 h 7110663"/>
              <a:gd name="connsiteX9" fmla="*/ 1395663 w 10058400"/>
              <a:gd name="connsiteY9" fmla="*/ 7098631 h 7110663"/>
              <a:gd name="connsiteX10" fmla="*/ 8698832 w 10058400"/>
              <a:gd name="connsiteY10" fmla="*/ 7110663 h 7110663"/>
              <a:gd name="connsiteX11" fmla="*/ 8783053 w 10058400"/>
              <a:gd name="connsiteY11" fmla="*/ 6388768 h 7110663"/>
              <a:gd name="connsiteX12" fmla="*/ 9456821 w 10058400"/>
              <a:gd name="connsiteY12" fmla="*/ 5847347 h 7110663"/>
              <a:gd name="connsiteX13" fmla="*/ 9601200 w 10058400"/>
              <a:gd name="connsiteY13" fmla="*/ 5173579 h 7110663"/>
              <a:gd name="connsiteX14" fmla="*/ 9745579 w 10058400"/>
              <a:gd name="connsiteY14" fmla="*/ 5185610 h 7110663"/>
              <a:gd name="connsiteX15" fmla="*/ 10058400 w 10058400"/>
              <a:gd name="connsiteY15" fmla="*/ 0 h 7110663"/>
              <a:gd name="connsiteX16" fmla="*/ 457200 w 10058400"/>
              <a:gd name="connsiteY16" fmla="*/ 72189 h 711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058400" h="7110663">
                <a:moveTo>
                  <a:pt x="457200" y="72189"/>
                </a:moveTo>
                <a:lnTo>
                  <a:pt x="577516" y="914400"/>
                </a:lnTo>
                <a:lnTo>
                  <a:pt x="228600" y="1515979"/>
                </a:lnTo>
                <a:lnTo>
                  <a:pt x="156411" y="2442410"/>
                </a:lnTo>
                <a:lnTo>
                  <a:pt x="0" y="2646947"/>
                </a:lnTo>
                <a:lnTo>
                  <a:pt x="252663" y="4138863"/>
                </a:lnTo>
                <a:lnTo>
                  <a:pt x="613611" y="4271210"/>
                </a:lnTo>
                <a:lnTo>
                  <a:pt x="854242" y="5534526"/>
                </a:lnTo>
                <a:lnTo>
                  <a:pt x="1143000" y="5522495"/>
                </a:lnTo>
                <a:lnTo>
                  <a:pt x="1395663" y="7098631"/>
                </a:lnTo>
                <a:lnTo>
                  <a:pt x="8698832" y="7110663"/>
                </a:lnTo>
                <a:lnTo>
                  <a:pt x="8783053" y="6388768"/>
                </a:lnTo>
                <a:lnTo>
                  <a:pt x="9456821" y="5847347"/>
                </a:lnTo>
                <a:lnTo>
                  <a:pt x="9601200" y="5173579"/>
                </a:lnTo>
                <a:lnTo>
                  <a:pt x="9745579" y="5185610"/>
                </a:lnTo>
                <a:lnTo>
                  <a:pt x="10058400" y="0"/>
                </a:lnTo>
                <a:lnTo>
                  <a:pt x="457200" y="72189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88216" y="892550"/>
            <a:ext cx="252505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EDIT QUERIE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709162" y="-92334"/>
            <a:ext cx="50211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EASURES</a:t>
            </a:r>
            <a:endParaRPr kumimoji="0" lang="en-US" sz="8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235008" y="569384"/>
            <a:ext cx="274523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DAX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46790" y="123109"/>
            <a:ext cx="448578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RELATIONSHIPS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70998" y="799382"/>
            <a:ext cx="427732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DATA SOURCES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15620" y="1296384"/>
            <a:ext cx="356059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APPEND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730816" y="1861174"/>
            <a:ext cx="323979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UNPIVO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650888" y="1337039"/>
            <a:ext cx="37273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TRANSPOSE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88996" y="1992569"/>
            <a:ext cx="27671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DRILL DOWN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200877" y="2439195"/>
            <a:ext cx="393005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FORMULAS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212313" y="1697052"/>
            <a:ext cx="2222083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</a:t>
            </a:r>
            <a:endParaRPr kumimoji="0" lang="en-US" sz="199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152223" y="2627878"/>
            <a:ext cx="384945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ULTIDIMENSIONAL 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TABL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922106" y="2917877"/>
            <a:ext cx="407162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HIERARCHY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281933" y="3200399"/>
            <a:ext cx="37637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PLIT COLUMNS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219753" y="3484426"/>
            <a:ext cx="6726521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ODELING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41225" y="3749392"/>
            <a:ext cx="26673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ORT BY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230378" y="4679527"/>
            <a:ext cx="24091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FILTERS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249753" y="6008189"/>
            <a:ext cx="54572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SUMMARIZATION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490394" y="5215936"/>
            <a:ext cx="263694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PIVOT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382533" y="4760084"/>
            <a:ext cx="264809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EXTRACT</a:t>
            </a:r>
            <a:endParaRPr kumimoji="0" lang="en-US" sz="8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833937" y="4380978"/>
            <a:ext cx="25484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AGGREGATE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425476" y="6132391"/>
            <a:ext cx="1619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EXPAND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241732" y="4719889"/>
            <a:ext cx="3040961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MERGE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268322" y="5430902"/>
            <a:ext cx="232820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REPLA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293347" y="2266013"/>
            <a:ext cx="18704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OMBINE BINARIE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425476" y="5702833"/>
            <a:ext cx="28053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REMOVE DUPLICATES</a:t>
            </a:r>
          </a:p>
        </p:txBody>
      </p:sp>
    </p:spTree>
    <p:extLst>
      <p:ext uri="{BB962C8B-B14F-4D97-AF65-F5344CB8AC3E}">
        <p14:creationId xmlns:p14="http://schemas.microsoft.com/office/powerpoint/2010/main" val="25546973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35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45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5000"/>
                            </p:stCondLst>
                            <p:childTnLst>
                              <p:par>
                                <p:cTn id="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>
          <a:xfrm>
            <a:off x="2502569" y="-108284"/>
            <a:ext cx="7315199" cy="5233737"/>
          </a:xfrm>
          <a:custGeom>
            <a:avLst/>
            <a:gdLst>
              <a:gd name="connsiteX0" fmla="*/ 0 w 7327231"/>
              <a:gd name="connsiteY0" fmla="*/ 60158 h 4126831"/>
              <a:gd name="connsiteX1" fmla="*/ 336884 w 7327231"/>
              <a:gd name="connsiteY1" fmla="*/ 1756610 h 4126831"/>
              <a:gd name="connsiteX2" fmla="*/ 1094874 w 7327231"/>
              <a:gd name="connsiteY2" fmla="*/ 2406316 h 4126831"/>
              <a:gd name="connsiteX3" fmla="*/ 1359568 w 7327231"/>
              <a:gd name="connsiteY3" fmla="*/ 2249905 h 4126831"/>
              <a:gd name="connsiteX4" fmla="*/ 1467852 w 7327231"/>
              <a:gd name="connsiteY4" fmla="*/ 1828800 h 4126831"/>
              <a:gd name="connsiteX5" fmla="*/ 2069431 w 7327231"/>
              <a:gd name="connsiteY5" fmla="*/ 4126831 h 4126831"/>
              <a:gd name="connsiteX6" fmla="*/ 2839452 w 7327231"/>
              <a:gd name="connsiteY6" fmla="*/ 3934326 h 4126831"/>
              <a:gd name="connsiteX7" fmla="*/ 3657600 w 7327231"/>
              <a:gd name="connsiteY7" fmla="*/ 2574758 h 4126831"/>
              <a:gd name="connsiteX8" fmla="*/ 5594684 w 7327231"/>
              <a:gd name="connsiteY8" fmla="*/ 1311442 h 4126831"/>
              <a:gd name="connsiteX9" fmla="*/ 6821905 w 7327231"/>
              <a:gd name="connsiteY9" fmla="*/ 1118937 h 4126831"/>
              <a:gd name="connsiteX10" fmla="*/ 7218947 w 7327231"/>
              <a:gd name="connsiteY10" fmla="*/ 601579 h 4126831"/>
              <a:gd name="connsiteX11" fmla="*/ 7327231 w 7327231"/>
              <a:gd name="connsiteY11" fmla="*/ 0 h 4126831"/>
              <a:gd name="connsiteX12" fmla="*/ 0 w 7327231"/>
              <a:gd name="connsiteY12" fmla="*/ 60158 h 412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27231" h="4126831">
                <a:moveTo>
                  <a:pt x="0" y="60158"/>
                </a:moveTo>
                <a:lnTo>
                  <a:pt x="336884" y="1756610"/>
                </a:lnTo>
                <a:lnTo>
                  <a:pt x="1094874" y="2406316"/>
                </a:lnTo>
                <a:lnTo>
                  <a:pt x="1359568" y="2249905"/>
                </a:lnTo>
                <a:lnTo>
                  <a:pt x="1467852" y="1828800"/>
                </a:lnTo>
                <a:lnTo>
                  <a:pt x="2069431" y="4126831"/>
                </a:lnTo>
                <a:lnTo>
                  <a:pt x="2839452" y="3934326"/>
                </a:lnTo>
                <a:lnTo>
                  <a:pt x="3657600" y="2574758"/>
                </a:lnTo>
                <a:lnTo>
                  <a:pt x="5594684" y="1311442"/>
                </a:lnTo>
                <a:lnTo>
                  <a:pt x="6821905" y="1118937"/>
                </a:lnTo>
                <a:lnTo>
                  <a:pt x="7218947" y="601579"/>
                </a:lnTo>
                <a:lnTo>
                  <a:pt x="7327231" y="0"/>
                </a:lnTo>
                <a:lnTo>
                  <a:pt x="0" y="60158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-1977419" y="5590294"/>
            <a:ext cx="15023975" cy="1825988"/>
          </a:xfrm>
          <a:custGeom>
            <a:avLst/>
            <a:gdLst>
              <a:gd name="connsiteX0" fmla="*/ 834420 w 15023975"/>
              <a:gd name="connsiteY0" fmla="*/ 666127 h 1825988"/>
              <a:gd name="connsiteX1" fmla="*/ 3962630 w 15023975"/>
              <a:gd name="connsiteY1" fmla="*/ 305180 h 1825988"/>
              <a:gd name="connsiteX2" fmla="*/ 8414314 w 15023975"/>
              <a:gd name="connsiteY2" fmla="*/ 774412 h 1825988"/>
              <a:gd name="connsiteX3" fmla="*/ 13696178 w 15023975"/>
              <a:gd name="connsiteY3" fmla="*/ 124706 h 1825988"/>
              <a:gd name="connsiteX4" fmla="*/ 14598546 w 15023975"/>
              <a:gd name="connsiteY4" fmla="*/ 16422 h 1825988"/>
              <a:gd name="connsiteX5" fmla="*/ 14586514 w 15023975"/>
              <a:gd name="connsiteY5" fmla="*/ 341275 h 1825988"/>
              <a:gd name="connsiteX6" fmla="*/ 13828525 w 15023975"/>
              <a:gd name="connsiteY6" fmla="*/ 1712875 h 1825988"/>
              <a:gd name="connsiteX7" fmla="*/ 1195367 w 15023975"/>
              <a:gd name="connsiteY7" fmla="*/ 1628654 h 1825988"/>
              <a:gd name="connsiteX8" fmla="*/ 834420 w 15023975"/>
              <a:gd name="connsiteY8" fmla="*/ 666127 h 1825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023975" h="1825988">
                <a:moveTo>
                  <a:pt x="834420" y="666127"/>
                </a:moveTo>
                <a:cubicBezTo>
                  <a:pt x="1295630" y="445548"/>
                  <a:pt x="2699314" y="287133"/>
                  <a:pt x="3962630" y="305180"/>
                </a:cubicBezTo>
                <a:cubicBezTo>
                  <a:pt x="5225946" y="323227"/>
                  <a:pt x="6792056" y="804491"/>
                  <a:pt x="8414314" y="774412"/>
                </a:cubicBezTo>
                <a:cubicBezTo>
                  <a:pt x="10036572" y="744333"/>
                  <a:pt x="13696178" y="124706"/>
                  <a:pt x="13696178" y="124706"/>
                </a:cubicBezTo>
                <a:cubicBezTo>
                  <a:pt x="14726883" y="-1626"/>
                  <a:pt x="14450157" y="-19673"/>
                  <a:pt x="14598546" y="16422"/>
                </a:cubicBezTo>
                <a:cubicBezTo>
                  <a:pt x="14746935" y="52517"/>
                  <a:pt x="14714851" y="58533"/>
                  <a:pt x="14586514" y="341275"/>
                </a:cubicBezTo>
                <a:cubicBezTo>
                  <a:pt x="14458177" y="624017"/>
                  <a:pt x="16060383" y="1498312"/>
                  <a:pt x="13828525" y="1712875"/>
                </a:cubicBezTo>
                <a:cubicBezTo>
                  <a:pt x="11596667" y="1927438"/>
                  <a:pt x="3357041" y="1801107"/>
                  <a:pt x="1195367" y="1628654"/>
                </a:cubicBezTo>
                <a:cubicBezTo>
                  <a:pt x="-966307" y="1456201"/>
                  <a:pt x="373210" y="886706"/>
                  <a:pt x="834420" y="666127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38301" y="1715786"/>
            <a:ext cx="266932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80%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86710" y="-58410"/>
            <a:ext cx="652774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WORKING,</a:t>
            </a:r>
            <a:endParaRPr kumimoji="0" lang="en-US" sz="115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78484" y="2361823"/>
            <a:ext cx="8611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THE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86710" y="1064642"/>
            <a:ext cx="402514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CLEANING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127341" y="2100506"/>
            <a:ext cx="7569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AN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29709" y="1807643"/>
            <a:ext cx="32752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ENHANCING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121192" y="2664695"/>
            <a:ext cx="196906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Leelawadee UI" panose="020B0502040204020203" pitchFamily="34" charset="-34"/>
                <a:ea typeface="Ebrima" panose="02000000000000000000" pitchFamily="2" charset="0"/>
                <a:cs typeface="Leelawadee UI" panose="020B0502040204020203" pitchFamily="34" charset="-34"/>
              </a:rPr>
              <a:t>DATA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Leelawadee UI" panose="020B0502040204020203" pitchFamily="34" charset="-34"/>
              <a:ea typeface="Ebrima" panose="02000000000000000000" pitchFamily="2" charset="0"/>
              <a:cs typeface="Leelawadee UI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4739805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5" grpId="0"/>
      <p:bldP spid="16" grpId="0"/>
      <p:bldP spid="1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922820" y="262647"/>
            <a:ext cx="62691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Get Power BI (Free) </a:t>
            </a:r>
            <a:r>
              <a:rPr lang="en-US" dirty="0" smtClean="0"/>
              <a:t>         </a:t>
            </a:r>
            <a:r>
              <a:rPr lang="en-US" dirty="0" smtClean="0">
                <a:hlinkClick r:id="rId2"/>
              </a:rPr>
              <a:t>http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tinyurl.com/hj5hdg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Jump Start         </a:t>
            </a:r>
            <a:r>
              <a:rPr lang="en-US" dirty="0" smtClean="0">
                <a:hlinkClick r:id="rId3"/>
              </a:rPr>
              <a:t>http://bit.ly/1ktON1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Getting Started </a:t>
            </a:r>
            <a:r>
              <a:rPr lang="en-US" dirty="0" smtClean="0">
                <a:hlinkClick r:id="rId4"/>
              </a:rPr>
              <a:t>http://bit.ly/1FF88KA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Team Blog          </a:t>
            </a:r>
            <a:r>
              <a:rPr lang="en-US" dirty="0" smtClean="0">
                <a:hlinkClick r:id="rId5"/>
              </a:rPr>
              <a:t>http://bit.ly/1vwbTLG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Channel 9          </a:t>
            </a:r>
            <a:r>
              <a:rPr lang="en-US" dirty="0" smtClean="0">
                <a:hlinkClick r:id="rId6"/>
              </a:rPr>
              <a:t>http://bit.ly/1a9Q0gv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/>
              <a:t>Power BI                             </a:t>
            </a:r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powerbi.microsoft.com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359923" y="262647"/>
            <a:ext cx="111673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latin typeface="Bodoni MT" panose="02070603080606020203" pitchFamily="18" charset="0"/>
              </a:rPr>
              <a:t>Resourc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23" y="1419225"/>
            <a:ext cx="1933575" cy="2362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312" y="1419225"/>
            <a:ext cx="1919288" cy="238717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49" y="4057651"/>
            <a:ext cx="2400300" cy="24003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34585" y="4057651"/>
            <a:ext cx="1866015" cy="250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0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2728"/>
          <a:stretch/>
        </p:blipFill>
        <p:spPr>
          <a:xfrm>
            <a:off x="1" y="1396532"/>
            <a:ext cx="12192000" cy="546098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you for Coming to </a:t>
            </a:r>
            <a:r>
              <a:rPr lang="en-US" dirty="0" err="1" smtClean="0"/>
              <a:t>PowerBI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423196" y="4500603"/>
            <a:ext cx="3928070" cy="950438"/>
          </a:xfrm>
          <a:prstGeom prst="rect">
            <a:avLst/>
          </a:prstGeom>
          <a:solidFill>
            <a:srgbClr val="F2C812"/>
          </a:solidFill>
        </p:spPr>
        <p:txBody>
          <a:bodyPr wrap="square" lIns="0" rIns="0" bIns="179285">
            <a:spAutoFit/>
          </a:bodyPr>
          <a:lstStyle/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Sign up for a free Preview account </a:t>
            </a:r>
            <a:br>
              <a:rPr lang="en-US" sz="1568" dirty="0">
                <a:solidFill>
                  <a:srgbClr val="000000"/>
                </a:solidFill>
                <a:latin typeface="Segoe UI Light"/>
              </a:rPr>
            </a:br>
            <a:endParaRPr lang="en-US" sz="1568" dirty="0">
              <a:solidFill>
                <a:srgbClr val="000000"/>
              </a:solidFill>
              <a:latin typeface="Segoe UI Light"/>
            </a:endParaRPr>
          </a:p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Take the Power BI Tour</a:t>
            </a:r>
          </a:p>
        </p:txBody>
      </p:sp>
      <p:sp>
        <p:nvSpPr>
          <p:cNvPr id="8" name="Freeform 8"/>
          <p:cNvSpPr>
            <a:spLocks noEditPoints="1"/>
          </p:cNvSpPr>
          <p:nvPr/>
        </p:nvSpPr>
        <p:spPr bwMode="black">
          <a:xfrm rot="5400000">
            <a:off x="2508132" y="454552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2" name="Freeform 8"/>
          <p:cNvSpPr>
            <a:spLocks noEditPoints="1"/>
          </p:cNvSpPr>
          <p:nvPr/>
        </p:nvSpPr>
        <p:spPr bwMode="black">
          <a:xfrm rot="5400000">
            <a:off x="2508132" y="499828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69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D207417-3382-4BC3-A381-0DEFAB25FBFF}"/>
              </a:ext>
            </a:extLst>
          </p:cNvPr>
          <p:cNvGrpSpPr/>
          <p:nvPr/>
        </p:nvGrpSpPr>
        <p:grpSpPr>
          <a:xfrm>
            <a:off x="2456543" y="131812"/>
            <a:ext cx="8189686" cy="1323439"/>
            <a:chOff x="2456543" y="131812"/>
            <a:chExt cx="7278915" cy="132343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E8AA9BD-5B28-4BB1-803B-54BB6E1B0DE1}"/>
                </a:ext>
              </a:extLst>
            </p:cNvPr>
            <p:cNvSpPr txBox="1"/>
            <p:nvPr/>
          </p:nvSpPr>
          <p:spPr>
            <a:xfrm>
              <a:off x="2456543" y="131812"/>
              <a:ext cx="7278915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WHY WE NEED DATA CONNECTORS</a:t>
              </a:r>
              <a:endPara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884BCA-1978-49CC-8588-5399D7CABDE7}"/>
                </a:ext>
              </a:extLst>
            </p:cNvPr>
            <p:cNvGrpSpPr/>
            <p:nvPr/>
          </p:nvGrpSpPr>
          <p:grpSpPr>
            <a:xfrm>
              <a:off x="5378756" y="878988"/>
              <a:ext cx="1434489" cy="190500"/>
              <a:chOff x="4679586" y="878988"/>
              <a:chExt cx="1434489" cy="190500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3701A590-ABA9-4BD2-BD64-376A4C227798}"/>
                  </a:ext>
                </a:extLst>
              </p:cNvPr>
              <p:cNvSpPr/>
              <p:nvPr/>
            </p:nvSpPr>
            <p:spPr>
              <a:xfrm>
                <a:off x="4679586" y="878988"/>
                <a:ext cx="190500" cy="190500"/>
              </a:xfrm>
              <a:prstGeom prst="ellipse">
                <a:avLst/>
              </a:prstGeom>
              <a:solidFill>
                <a:srgbClr val="03A1A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3E53B434-A2A6-4C16-99DD-292CE4FD62C4}"/>
                  </a:ext>
                </a:extLst>
              </p:cNvPr>
              <p:cNvSpPr/>
              <p:nvPr/>
            </p:nvSpPr>
            <p:spPr>
              <a:xfrm>
                <a:off x="4990736" y="878988"/>
                <a:ext cx="190500" cy="190500"/>
              </a:xfrm>
              <a:prstGeom prst="ellipse">
                <a:avLst/>
              </a:prstGeom>
              <a:solidFill>
                <a:srgbClr val="EE95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F3E5BC96-17A2-4BD5-BA51-10270687E851}"/>
                  </a:ext>
                </a:extLst>
              </p:cNvPr>
              <p:cNvSpPr/>
              <p:nvPr/>
            </p:nvSpPr>
            <p:spPr>
              <a:xfrm>
                <a:off x="5301522" y="878988"/>
                <a:ext cx="190500" cy="190500"/>
              </a:xfrm>
              <a:prstGeom prst="ellipse">
                <a:avLst/>
              </a:prstGeom>
              <a:solidFill>
                <a:srgbClr val="EF30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1A06ACCC-548D-4873-BD3B-AD3CA2C095B0}"/>
                  </a:ext>
                </a:extLst>
              </p:cNvPr>
              <p:cNvSpPr/>
              <p:nvPr/>
            </p:nvSpPr>
            <p:spPr>
              <a:xfrm>
                <a:off x="5612308" y="878988"/>
                <a:ext cx="190500" cy="190500"/>
              </a:xfrm>
              <a:prstGeom prst="ellipse">
                <a:avLst/>
              </a:prstGeom>
              <a:solidFill>
                <a:srgbClr val="1C7CB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7CBDE4C1-DAF9-476F-B807-27BE954F6C82}"/>
                  </a:ext>
                </a:extLst>
              </p:cNvPr>
              <p:cNvSpPr/>
              <p:nvPr/>
            </p:nvSpPr>
            <p:spPr>
              <a:xfrm>
                <a:off x="5923575" y="878988"/>
                <a:ext cx="190500" cy="1905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BF5B7B4-845C-44D3-BFB2-349033654D72}"/>
              </a:ext>
            </a:extLst>
          </p:cNvPr>
          <p:cNvGrpSpPr/>
          <p:nvPr/>
        </p:nvGrpSpPr>
        <p:grpSpPr>
          <a:xfrm>
            <a:off x="4306258" y="2050574"/>
            <a:ext cx="3602088" cy="3578202"/>
            <a:chOff x="4253833" y="2037467"/>
            <a:chExt cx="3602088" cy="357820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FD16315-FEAF-46FC-9675-CB642BB1A557}"/>
                </a:ext>
              </a:extLst>
            </p:cNvPr>
            <p:cNvSpPr/>
            <p:nvPr/>
          </p:nvSpPr>
          <p:spPr>
            <a:xfrm>
              <a:off x="4253833" y="2037467"/>
              <a:ext cx="3578202" cy="3578202"/>
            </a:xfrm>
            <a:prstGeom prst="ellipse">
              <a:avLst/>
            </a:prstGeom>
            <a:solidFill>
              <a:srgbClr val="EF30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31D742C-D4A8-4DCA-8C7C-29720BB3ABB7}"/>
                </a:ext>
              </a:extLst>
            </p:cNvPr>
            <p:cNvGrpSpPr/>
            <p:nvPr/>
          </p:nvGrpSpPr>
          <p:grpSpPr>
            <a:xfrm>
              <a:off x="4297230" y="2851296"/>
              <a:ext cx="3558691" cy="1880712"/>
              <a:chOff x="4350238" y="3010320"/>
              <a:chExt cx="3558691" cy="1880712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332E8BCD-C04C-4D02-BF30-D147FB439819}"/>
                  </a:ext>
                </a:extLst>
              </p:cNvPr>
              <p:cNvSpPr txBox="1"/>
              <p:nvPr/>
            </p:nvSpPr>
            <p:spPr>
              <a:xfrm>
                <a:off x="4727471" y="3010320"/>
                <a:ext cx="2756452" cy="4770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500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Securing future</a:t>
                </a:r>
                <a:endParaRPr lang="en-US" sz="2500" b="1" dirty="0">
                  <a:solidFill>
                    <a:srgbClr val="E6E7E9"/>
                  </a:solidFill>
                  <a:latin typeface="Tw Cen MT" panose="020B0602020104020603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52039DE-9574-4646-B9B7-80C5A08E5B31}"/>
                  </a:ext>
                </a:extLst>
              </p:cNvPr>
              <p:cNvSpPr txBox="1"/>
              <p:nvPr/>
            </p:nvSpPr>
            <p:spPr>
              <a:xfrm>
                <a:off x="4350238" y="3465928"/>
                <a:ext cx="355869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600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Securing datasets</a:t>
                </a:r>
                <a:endParaRPr lang="en-US" sz="3600" b="1" dirty="0">
                  <a:solidFill>
                    <a:srgbClr val="E6E7E9"/>
                  </a:solidFill>
                  <a:latin typeface="Tw Cen MT" panose="020B0602020104020603" pitchFamily="34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D43FF143-C59B-4B35-8118-BA624EED669B}"/>
                  </a:ext>
                </a:extLst>
              </p:cNvPr>
              <p:cNvSpPr txBox="1"/>
              <p:nvPr/>
            </p:nvSpPr>
            <p:spPr>
              <a:xfrm>
                <a:off x="4829340" y="4244701"/>
                <a:ext cx="2552714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 algn="ctr">
                  <a:buFontTx/>
                  <a:buChar char="-"/>
                </a:pPr>
                <a:r>
                  <a:rPr lang="da-DK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Help industry</a:t>
                </a:r>
              </a:p>
              <a:p>
                <a:pPr marL="285750" indent="-285750" algn="ctr">
                  <a:buFontTx/>
                  <a:buChar char="-"/>
                </a:pPr>
                <a:r>
                  <a:rPr lang="da-DK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Help Humanity</a:t>
                </a:r>
                <a:endParaRPr lang="en-US" b="1" dirty="0">
                  <a:solidFill>
                    <a:srgbClr val="E6E7E9"/>
                  </a:solidFill>
                  <a:latin typeface="Tw Cen MT" panose="020B0602020104020603" pitchFamily="34" charset="0"/>
                </a:endParaRPr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CC510C9-281D-45CD-8907-71C6C646CF97}"/>
              </a:ext>
            </a:extLst>
          </p:cNvPr>
          <p:cNvGrpSpPr/>
          <p:nvPr/>
        </p:nvGrpSpPr>
        <p:grpSpPr>
          <a:xfrm>
            <a:off x="1733971" y="1629656"/>
            <a:ext cx="2133820" cy="2133820"/>
            <a:chOff x="1733971" y="1629656"/>
            <a:chExt cx="2133820" cy="213382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3CE9B52-F8C0-4C0F-A36C-A519F49591BD}"/>
                </a:ext>
              </a:extLst>
            </p:cNvPr>
            <p:cNvSpPr/>
            <p:nvPr/>
          </p:nvSpPr>
          <p:spPr>
            <a:xfrm>
              <a:off x="1733971" y="1629656"/>
              <a:ext cx="2133820" cy="213382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913B4F1-0711-4F3D-94C3-109C7FECF599}"/>
                </a:ext>
              </a:extLst>
            </p:cNvPr>
            <p:cNvGrpSpPr/>
            <p:nvPr/>
          </p:nvGrpSpPr>
          <p:grpSpPr>
            <a:xfrm>
              <a:off x="1829182" y="2111301"/>
              <a:ext cx="1967285" cy="1267997"/>
              <a:chOff x="1882190" y="2270325"/>
              <a:chExt cx="1967285" cy="1267997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924A6141-42CC-4107-99BF-4373E4A590AF}"/>
                  </a:ext>
                </a:extLst>
              </p:cNvPr>
              <p:cNvSpPr txBox="1"/>
              <p:nvPr/>
            </p:nvSpPr>
            <p:spPr>
              <a:xfrm>
                <a:off x="1906077" y="2270325"/>
                <a:ext cx="194339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600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Analysis</a:t>
                </a:r>
                <a:endParaRPr lang="en-US" sz="3600" b="1" dirty="0">
                  <a:solidFill>
                    <a:srgbClr val="E6E7E9"/>
                  </a:solidFill>
                  <a:latin typeface="Tw Cen MT" panose="020B0602020104020603" pitchFamily="34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80B7DE05-4BB1-4A50-9B3B-031628755D68}"/>
                  </a:ext>
                </a:extLst>
              </p:cNvPr>
              <p:cNvSpPr txBox="1"/>
              <p:nvPr/>
            </p:nvSpPr>
            <p:spPr>
              <a:xfrm>
                <a:off x="1882190" y="2891991"/>
                <a:ext cx="194339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- Proper vision of data</a:t>
                </a:r>
                <a:endParaRPr lang="en-US" b="1" dirty="0">
                  <a:solidFill>
                    <a:srgbClr val="E6E7E9"/>
                  </a:solidFill>
                  <a:latin typeface="Tw Cen MT" panose="020B0602020104020603" pitchFamily="34" charset="0"/>
                </a:endParaRPr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6E2F234-7399-4F08-997B-76646A4772C2}"/>
              </a:ext>
            </a:extLst>
          </p:cNvPr>
          <p:cNvGrpSpPr/>
          <p:nvPr/>
        </p:nvGrpSpPr>
        <p:grpSpPr>
          <a:xfrm>
            <a:off x="1733971" y="4238282"/>
            <a:ext cx="2133820" cy="2133820"/>
            <a:chOff x="1733971" y="4238282"/>
            <a:chExt cx="2133820" cy="213382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10E513B-A9B7-4228-9391-28CE821FB658}"/>
                </a:ext>
              </a:extLst>
            </p:cNvPr>
            <p:cNvSpPr/>
            <p:nvPr/>
          </p:nvSpPr>
          <p:spPr>
            <a:xfrm>
              <a:off x="1733971" y="4238282"/>
              <a:ext cx="2133820" cy="2133820"/>
            </a:xfrm>
            <a:prstGeom prst="ellipse">
              <a:avLst/>
            </a:prstGeom>
            <a:solidFill>
              <a:srgbClr val="EE95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86506E16-4976-491D-872E-469294527B01}"/>
                </a:ext>
              </a:extLst>
            </p:cNvPr>
            <p:cNvGrpSpPr/>
            <p:nvPr/>
          </p:nvGrpSpPr>
          <p:grpSpPr>
            <a:xfrm>
              <a:off x="1829182" y="4595126"/>
              <a:ext cx="1943398" cy="1353042"/>
              <a:chOff x="1882190" y="2145524"/>
              <a:chExt cx="1943398" cy="1353042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479A66B0-42FC-4535-9518-E6319730B5CC}"/>
                  </a:ext>
                </a:extLst>
              </p:cNvPr>
              <p:cNvSpPr txBox="1"/>
              <p:nvPr/>
            </p:nvSpPr>
            <p:spPr>
              <a:xfrm>
                <a:off x="1882190" y="2145524"/>
                <a:ext cx="1943398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Cloud Applications</a:t>
                </a:r>
                <a:endParaRPr lang="en-US" sz="2400" b="1" dirty="0">
                  <a:solidFill>
                    <a:srgbClr val="E6E7E9"/>
                  </a:solidFill>
                  <a:latin typeface="Tw Cen MT" panose="020B0602020104020603" pitchFamily="34" charset="0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0C8D843-8BF8-4452-8990-422F6F5FDBC8}"/>
                  </a:ext>
                </a:extLst>
              </p:cNvPr>
              <p:cNvSpPr txBox="1"/>
              <p:nvPr/>
            </p:nvSpPr>
            <p:spPr>
              <a:xfrm>
                <a:off x="1882190" y="2852235"/>
                <a:ext cx="194339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- Integration with data world</a:t>
                </a:r>
                <a:endParaRPr lang="en-US" b="1" dirty="0">
                  <a:solidFill>
                    <a:srgbClr val="E6E7E9"/>
                  </a:solidFill>
                  <a:latin typeface="Tw Cen MT" panose="020B0602020104020603" pitchFamily="34" charset="0"/>
                </a:endParaRPr>
              </a:p>
            </p:txBody>
          </p: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D88FA7E-2272-481F-A031-9A85AD5D1682}"/>
              </a:ext>
            </a:extLst>
          </p:cNvPr>
          <p:cNvGrpSpPr/>
          <p:nvPr/>
        </p:nvGrpSpPr>
        <p:grpSpPr>
          <a:xfrm>
            <a:off x="69823" y="3320011"/>
            <a:ext cx="1943398" cy="1361736"/>
            <a:chOff x="69823" y="3320011"/>
            <a:chExt cx="1943398" cy="1361736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FB6491C5-3F58-4875-9A18-45DAF1B057B3}"/>
                </a:ext>
              </a:extLst>
            </p:cNvPr>
            <p:cNvSpPr/>
            <p:nvPr/>
          </p:nvSpPr>
          <p:spPr>
            <a:xfrm>
              <a:off x="372235" y="3320011"/>
              <a:ext cx="1361736" cy="1361736"/>
            </a:xfrm>
            <a:prstGeom prst="ellipse">
              <a:avLst/>
            </a:prstGeom>
            <a:solidFill>
              <a:srgbClr val="EF30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709BF56-06D6-4CBB-99CD-B21DA139461F}"/>
                </a:ext>
              </a:extLst>
            </p:cNvPr>
            <p:cNvGrpSpPr/>
            <p:nvPr/>
          </p:nvGrpSpPr>
          <p:grpSpPr>
            <a:xfrm>
              <a:off x="69823" y="3538756"/>
              <a:ext cx="1943398" cy="895033"/>
              <a:chOff x="1870609" y="2393467"/>
              <a:chExt cx="1943398" cy="895033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A1AC8D0-5485-4139-9B1F-F55366CE68D6}"/>
                  </a:ext>
                </a:extLst>
              </p:cNvPr>
              <p:cNvSpPr txBox="1"/>
              <p:nvPr/>
            </p:nvSpPr>
            <p:spPr>
              <a:xfrm>
                <a:off x="1870609" y="2393467"/>
                <a:ext cx="194339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800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APIs</a:t>
                </a:r>
                <a:endParaRPr lang="en-US" sz="2800" b="1" dirty="0">
                  <a:solidFill>
                    <a:srgbClr val="E6E7E9"/>
                  </a:solidFill>
                  <a:latin typeface="Tw Cen MT" panose="020B0602020104020603" pitchFamily="34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D2F97D46-4CA3-4B09-9BF6-6CEEE7C7B2A2}"/>
                  </a:ext>
                </a:extLst>
              </p:cNvPr>
              <p:cNvSpPr txBox="1"/>
              <p:nvPr/>
            </p:nvSpPr>
            <p:spPr>
              <a:xfrm>
                <a:off x="2161440" y="2826835"/>
                <a:ext cx="136173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srgbClr val="E6E7E9"/>
                    </a:solidFill>
                    <a:latin typeface="Tw Cen MT" panose="020B0602020104020603" pitchFamily="34" charset="0"/>
                  </a:rPr>
                  <a:t>More real time data</a:t>
                </a:r>
                <a:endParaRPr lang="en-US" sz="1200" b="1" dirty="0">
                  <a:solidFill>
                    <a:srgbClr val="E6E7E9"/>
                  </a:solidFill>
                  <a:latin typeface="Tw Cen MT" panose="020B0602020104020603" pitchFamily="34" charset="0"/>
                </a:endParaRPr>
              </a:p>
            </p:txBody>
          </p: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B90B379-7D01-4994-B486-01ECD5DDDA6C}"/>
              </a:ext>
            </a:extLst>
          </p:cNvPr>
          <p:cNvGrpSpPr/>
          <p:nvPr/>
        </p:nvGrpSpPr>
        <p:grpSpPr>
          <a:xfrm>
            <a:off x="9188820" y="1588909"/>
            <a:ext cx="2760082" cy="734533"/>
            <a:chOff x="9188820" y="1588909"/>
            <a:chExt cx="2349552" cy="734533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5E23A45-0798-4770-821D-672E4AE16918}"/>
                </a:ext>
              </a:extLst>
            </p:cNvPr>
            <p:cNvSpPr txBox="1"/>
            <p:nvPr/>
          </p:nvSpPr>
          <p:spPr>
            <a:xfrm>
              <a:off x="9188820" y="1588909"/>
              <a:ext cx="225424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 smtClean="0">
                  <a:solidFill>
                    <a:srgbClr val="00B0F0"/>
                  </a:solidFill>
                  <a:latin typeface="Tw Cen MT" panose="020B0602020104020603" pitchFamily="34" charset="0"/>
                </a:rPr>
                <a:t>More Perspective</a:t>
              </a:r>
              <a:endParaRPr lang="en-US" sz="2400" b="1" dirty="0">
                <a:solidFill>
                  <a:srgbClr val="00B0F0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9139624-BD62-40CF-9363-3B955653003A}"/>
                </a:ext>
              </a:extLst>
            </p:cNvPr>
            <p:cNvSpPr txBox="1"/>
            <p:nvPr/>
          </p:nvSpPr>
          <p:spPr>
            <a:xfrm>
              <a:off x="9188820" y="1954110"/>
              <a:ext cx="23495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- Helps real time vision</a:t>
              </a:r>
              <a:endParaRPr lang="en-US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F1DCAD0-F1ED-4D16-91B2-64B6CB692D03}"/>
              </a:ext>
            </a:extLst>
          </p:cNvPr>
          <p:cNvGrpSpPr/>
          <p:nvPr/>
        </p:nvGrpSpPr>
        <p:grpSpPr>
          <a:xfrm>
            <a:off x="9781697" y="3328469"/>
            <a:ext cx="2549640" cy="734533"/>
            <a:chOff x="9781697" y="3328469"/>
            <a:chExt cx="2549640" cy="734533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CFCE95A-F863-4CD1-8199-35E399BCEE43}"/>
                </a:ext>
              </a:extLst>
            </p:cNvPr>
            <p:cNvSpPr txBox="1"/>
            <p:nvPr/>
          </p:nvSpPr>
          <p:spPr>
            <a:xfrm>
              <a:off x="9781697" y="3328469"/>
              <a:ext cx="25496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 smtClean="0">
                  <a:solidFill>
                    <a:srgbClr val="EE9524"/>
                  </a:solidFill>
                  <a:latin typeface="Tw Cen MT" panose="020B0602020104020603" pitchFamily="34" charset="0"/>
                </a:rPr>
                <a:t>Build applications</a:t>
              </a:r>
              <a:endParaRPr lang="en-US" sz="2400" b="1" dirty="0">
                <a:solidFill>
                  <a:srgbClr val="EE952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D322A51-37BB-4C47-BFE8-80B2F91F015D}"/>
                </a:ext>
              </a:extLst>
            </p:cNvPr>
            <p:cNvSpPr txBox="1"/>
            <p:nvPr/>
          </p:nvSpPr>
          <p:spPr>
            <a:xfrm>
              <a:off x="9781697" y="3693670"/>
              <a:ext cx="23495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- Predictive Analysis</a:t>
              </a:r>
              <a:endParaRPr lang="en-US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8546D18-AA19-49ED-A024-882F8913425D}"/>
              </a:ext>
            </a:extLst>
          </p:cNvPr>
          <p:cNvGrpSpPr/>
          <p:nvPr/>
        </p:nvGrpSpPr>
        <p:grpSpPr>
          <a:xfrm>
            <a:off x="9188820" y="5060922"/>
            <a:ext cx="2648120" cy="734533"/>
            <a:chOff x="9188820" y="5060922"/>
            <a:chExt cx="2648120" cy="734533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3D66A8CA-19F4-4F4A-935B-4004FECE0B0A}"/>
                </a:ext>
              </a:extLst>
            </p:cNvPr>
            <p:cNvSpPr txBox="1"/>
            <p:nvPr/>
          </p:nvSpPr>
          <p:spPr>
            <a:xfrm>
              <a:off x="9188820" y="5060922"/>
              <a:ext cx="26481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Auto functionality</a:t>
              </a:r>
              <a:endParaRPr lang="en-US" sz="2400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2C26577-6532-4757-8E5F-67D360BDA6FE}"/>
                </a:ext>
              </a:extLst>
            </p:cNvPr>
            <p:cNvSpPr txBox="1"/>
            <p:nvPr/>
          </p:nvSpPr>
          <p:spPr>
            <a:xfrm>
              <a:off x="9188820" y="5426123"/>
              <a:ext cx="23495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- Get automation</a:t>
              </a:r>
              <a:endParaRPr lang="en-US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6595DA0A-9880-41FE-87E3-CE92DD62B349}"/>
              </a:ext>
            </a:extLst>
          </p:cNvPr>
          <p:cNvGrpSpPr/>
          <p:nvPr/>
        </p:nvGrpSpPr>
        <p:grpSpPr>
          <a:xfrm>
            <a:off x="8520429" y="3253462"/>
            <a:ext cx="1146212" cy="1146212"/>
            <a:chOff x="8520429" y="3253462"/>
            <a:chExt cx="1146212" cy="114621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57F1890-8D64-4551-B6C7-EB88B15E44A5}"/>
                </a:ext>
              </a:extLst>
            </p:cNvPr>
            <p:cNvSpPr/>
            <p:nvPr/>
          </p:nvSpPr>
          <p:spPr>
            <a:xfrm>
              <a:off x="8520429" y="3253462"/>
              <a:ext cx="1146212" cy="1146212"/>
            </a:xfrm>
            <a:prstGeom prst="ellipse">
              <a:avLst/>
            </a:prstGeom>
            <a:solidFill>
              <a:srgbClr val="EE95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8B95D9A5-F343-4818-8DF5-72BB89ED2D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43653" y="3476686"/>
              <a:ext cx="699764" cy="69976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368B01E-5C6A-4FF7-9953-F6587846580A}"/>
              </a:ext>
            </a:extLst>
          </p:cNvPr>
          <p:cNvGrpSpPr/>
          <p:nvPr/>
        </p:nvGrpSpPr>
        <p:grpSpPr>
          <a:xfrm>
            <a:off x="7932233" y="1520592"/>
            <a:ext cx="1146212" cy="1146212"/>
            <a:chOff x="7932233" y="1520592"/>
            <a:chExt cx="1146212" cy="1146212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56B1A4B-E1A2-41A8-81E6-13F865C9FEAE}"/>
                </a:ext>
              </a:extLst>
            </p:cNvPr>
            <p:cNvSpPr/>
            <p:nvPr/>
          </p:nvSpPr>
          <p:spPr>
            <a:xfrm>
              <a:off x="7932233" y="1520592"/>
              <a:ext cx="1146212" cy="1146212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73193DF5-8DA6-4C56-812C-AA549915B8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19711" y="1664946"/>
              <a:ext cx="771256" cy="771256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96C400D-FFFF-40A8-AEE6-E48A7481F5E8}"/>
              </a:ext>
            </a:extLst>
          </p:cNvPr>
          <p:cNvGrpSpPr/>
          <p:nvPr/>
        </p:nvGrpSpPr>
        <p:grpSpPr>
          <a:xfrm>
            <a:off x="7932233" y="4986332"/>
            <a:ext cx="1146212" cy="1146212"/>
            <a:chOff x="7932233" y="4986332"/>
            <a:chExt cx="1146212" cy="114621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2A495FC-D38D-410F-A2B3-A43850304062}"/>
                </a:ext>
              </a:extLst>
            </p:cNvPr>
            <p:cNvSpPr/>
            <p:nvPr/>
          </p:nvSpPr>
          <p:spPr>
            <a:xfrm>
              <a:off x="7932233" y="4986332"/>
              <a:ext cx="1146212" cy="1146212"/>
            </a:xfrm>
            <a:prstGeom prst="ellipse">
              <a:avLst/>
            </a:prstGeom>
            <a:solidFill>
              <a:srgbClr val="EF30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F8392A11-74EE-4801-BBE5-B2F42D833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70476" y="5206278"/>
              <a:ext cx="706320" cy="7063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123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25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25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500"/>
                            </p:stCondLst>
                            <p:childTnLst>
                              <p:par>
                                <p:cTn id="3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2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2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4116E06-47DE-4B81-A206-85CBAEDD7903}"/>
              </a:ext>
            </a:extLst>
          </p:cNvPr>
          <p:cNvGrpSpPr/>
          <p:nvPr/>
        </p:nvGrpSpPr>
        <p:grpSpPr>
          <a:xfrm>
            <a:off x="2456543" y="131812"/>
            <a:ext cx="7278915" cy="937676"/>
            <a:chOff x="2456543" y="131812"/>
            <a:chExt cx="7278915" cy="93767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E8AA9BD-5B28-4BB1-803B-54BB6E1B0DE1}"/>
                </a:ext>
              </a:extLst>
            </p:cNvPr>
            <p:cNvSpPr txBox="1"/>
            <p:nvPr/>
          </p:nvSpPr>
          <p:spPr>
            <a:xfrm>
              <a:off x="2456543" y="131812"/>
              <a:ext cx="727891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HOW CAN IT HELP?</a:t>
              </a:r>
              <a:endPara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884BCA-1978-49CC-8588-5399D7CABDE7}"/>
                </a:ext>
              </a:extLst>
            </p:cNvPr>
            <p:cNvGrpSpPr/>
            <p:nvPr/>
          </p:nvGrpSpPr>
          <p:grpSpPr>
            <a:xfrm>
              <a:off x="5378756" y="878988"/>
              <a:ext cx="1434489" cy="190500"/>
              <a:chOff x="4679586" y="878988"/>
              <a:chExt cx="1434489" cy="190500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3701A590-ABA9-4BD2-BD64-376A4C227798}"/>
                  </a:ext>
                </a:extLst>
              </p:cNvPr>
              <p:cNvSpPr/>
              <p:nvPr/>
            </p:nvSpPr>
            <p:spPr>
              <a:xfrm>
                <a:off x="4679586" y="878988"/>
                <a:ext cx="190500" cy="190500"/>
              </a:xfrm>
              <a:prstGeom prst="ellipse">
                <a:avLst/>
              </a:prstGeom>
              <a:solidFill>
                <a:srgbClr val="03A1A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3E53B434-A2A6-4C16-99DD-292CE4FD62C4}"/>
                  </a:ext>
                </a:extLst>
              </p:cNvPr>
              <p:cNvSpPr/>
              <p:nvPr/>
            </p:nvSpPr>
            <p:spPr>
              <a:xfrm>
                <a:off x="4990736" y="878988"/>
                <a:ext cx="190500" cy="190500"/>
              </a:xfrm>
              <a:prstGeom prst="ellipse">
                <a:avLst/>
              </a:prstGeom>
              <a:solidFill>
                <a:srgbClr val="EE95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F3E5BC96-17A2-4BD5-BA51-10270687E851}"/>
                  </a:ext>
                </a:extLst>
              </p:cNvPr>
              <p:cNvSpPr/>
              <p:nvPr/>
            </p:nvSpPr>
            <p:spPr>
              <a:xfrm>
                <a:off x="5301522" y="878988"/>
                <a:ext cx="190500" cy="190500"/>
              </a:xfrm>
              <a:prstGeom prst="ellipse">
                <a:avLst/>
              </a:prstGeom>
              <a:solidFill>
                <a:srgbClr val="EF30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1A06ACCC-548D-4873-BD3B-AD3CA2C095B0}"/>
                  </a:ext>
                </a:extLst>
              </p:cNvPr>
              <p:cNvSpPr/>
              <p:nvPr/>
            </p:nvSpPr>
            <p:spPr>
              <a:xfrm>
                <a:off x="5612308" y="878988"/>
                <a:ext cx="190500" cy="190500"/>
              </a:xfrm>
              <a:prstGeom prst="ellipse">
                <a:avLst/>
              </a:prstGeom>
              <a:solidFill>
                <a:srgbClr val="1C7CB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7CBDE4C1-DAF9-476F-B807-27BE954F6C82}"/>
                  </a:ext>
                </a:extLst>
              </p:cNvPr>
              <p:cNvSpPr/>
              <p:nvPr/>
            </p:nvSpPr>
            <p:spPr>
              <a:xfrm>
                <a:off x="5923575" y="878988"/>
                <a:ext cx="190500" cy="1905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1C685FE-4111-475B-92F9-E8EF54EFFF3F}"/>
              </a:ext>
            </a:extLst>
          </p:cNvPr>
          <p:cNvGrpSpPr/>
          <p:nvPr/>
        </p:nvGrpSpPr>
        <p:grpSpPr>
          <a:xfrm>
            <a:off x="9551694" y="2338532"/>
            <a:ext cx="1484244" cy="1484244"/>
            <a:chOff x="9551694" y="2338532"/>
            <a:chExt cx="1484244" cy="1484244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EDA8DB6-AE27-4F99-9726-06286F1ECC8A}"/>
                </a:ext>
              </a:extLst>
            </p:cNvPr>
            <p:cNvSpPr/>
            <p:nvPr/>
          </p:nvSpPr>
          <p:spPr>
            <a:xfrm rot="2700000">
              <a:off x="9551694" y="2338532"/>
              <a:ext cx="1484244" cy="1484244"/>
            </a:xfrm>
            <a:prstGeom prst="roundRect">
              <a:avLst>
                <a:gd name="adj" fmla="val 130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FAAEA80-CA30-4101-9CD1-6277ECA11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7094" y="2658878"/>
              <a:ext cx="843552" cy="843552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E851E4D-9EFD-4B5A-86C5-131DC72DB131}"/>
              </a:ext>
            </a:extLst>
          </p:cNvPr>
          <p:cNvGrpSpPr/>
          <p:nvPr/>
        </p:nvGrpSpPr>
        <p:grpSpPr>
          <a:xfrm>
            <a:off x="7452656" y="2338532"/>
            <a:ext cx="1484244" cy="1484244"/>
            <a:chOff x="7452656" y="2338532"/>
            <a:chExt cx="1484244" cy="1484244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0018B0A-C93F-4E1C-8AFA-C10A45AD97A0}"/>
                </a:ext>
              </a:extLst>
            </p:cNvPr>
            <p:cNvSpPr/>
            <p:nvPr/>
          </p:nvSpPr>
          <p:spPr>
            <a:xfrm rot="2700000">
              <a:off x="7452656" y="2338532"/>
              <a:ext cx="1484244" cy="1484244"/>
            </a:xfrm>
            <a:prstGeom prst="roundRect">
              <a:avLst>
                <a:gd name="adj" fmla="val 130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5A6A539F-4A70-49EF-81D6-C75F8CE33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03420" y="2621560"/>
              <a:ext cx="918188" cy="91818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E614641-85C8-4261-9172-7455F0793458}"/>
              </a:ext>
            </a:extLst>
          </p:cNvPr>
          <p:cNvGrpSpPr/>
          <p:nvPr/>
        </p:nvGrpSpPr>
        <p:grpSpPr>
          <a:xfrm>
            <a:off x="5385493" y="2338532"/>
            <a:ext cx="1484244" cy="1484244"/>
            <a:chOff x="5385493" y="2338532"/>
            <a:chExt cx="1484244" cy="1484244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FC519D27-4F14-4E45-80D5-D5C98813D917}"/>
                </a:ext>
              </a:extLst>
            </p:cNvPr>
            <p:cNvSpPr/>
            <p:nvPr/>
          </p:nvSpPr>
          <p:spPr>
            <a:xfrm rot="2700000">
              <a:off x="5385493" y="2338532"/>
              <a:ext cx="1484244" cy="1484244"/>
            </a:xfrm>
            <a:prstGeom prst="roundRect">
              <a:avLst>
                <a:gd name="adj" fmla="val 130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68775C5A-4659-4603-8EE6-7E24AB773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0448" y="2621560"/>
              <a:ext cx="918188" cy="918188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0F172E8-09DB-4E0D-A15B-3160B075795B}"/>
              </a:ext>
            </a:extLst>
          </p:cNvPr>
          <p:cNvGrpSpPr/>
          <p:nvPr/>
        </p:nvGrpSpPr>
        <p:grpSpPr>
          <a:xfrm>
            <a:off x="1187416" y="2338532"/>
            <a:ext cx="1484244" cy="1484244"/>
            <a:chOff x="1187416" y="2338532"/>
            <a:chExt cx="1484244" cy="1484244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703C2986-6FC2-4928-9609-DB37E6299E29}"/>
                </a:ext>
              </a:extLst>
            </p:cNvPr>
            <p:cNvSpPr/>
            <p:nvPr/>
          </p:nvSpPr>
          <p:spPr>
            <a:xfrm rot="2700000">
              <a:off x="1187416" y="2338532"/>
              <a:ext cx="1484244" cy="1484244"/>
            </a:xfrm>
            <a:prstGeom prst="roundRect">
              <a:avLst>
                <a:gd name="adj" fmla="val 130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449F607-3573-4460-BCF6-0D48A2A7C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7453" y="2718461"/>
              <a:ext cx="774274" cy="724385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3F52382-0652-4E04-80FB-8FF1902B675C}"/>
              </a:ext>
            </a:extLst>
          </p:cNvPr>
          <p:cNvGrpSpPr/>
          <p:nvPr/>
        </p:nvGrpSpPr>
        <p:grpSpPr>
          <a:xfrm>
            <a:off x="3286454" y="2338532"/>
            <a:ext cx="1484244" cy="1484244"/>
            <a:chOff x="3286454" y="2338532"/>
            <a:chExt cx="1484244" cy="1484244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0F1B0B97-B3BB-452D-8F2F-EA9AB5AF7674}"/>
                </a:ext>
              </a:extLst>
            </p:cNvPr>
            <p:cNvSpPr/>
            <p:nvPr/>
          </p:nvSpPr>
          <p:spPr>
            <a:xfrm rot="2700000">
              <a:off x="3286454" y="2338532"/>
              <a:ext cx="1484244" cy="1484244"/>
            </a:xfrm>
            <a:prstGeom prst="roundRect">
              <a:avLst>
                <a:gd name="adj" fmla="val 130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F23CAB68-7DAB-4E2D-B715-7CF53E9F0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6493" y="2885663"/>
              <a:ext cx="774272" cy="389982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7C3C1551-9EE9-42D9-8AA1-9DB3CA8F23DF}"/>
              </a:ext>
            </a:extLst>
          </p:cNvPr>
          <p:cNvGrpSpPr/>
          <p:nvPr/>
        </p:nvGrpSpPr>
        <p:grpSpPr>
          <a:xfrm>
            <a:off x="2025392" y="3657473"/>
            <a:ext cx="1915627" cy="1484244"/>
            <a:chOff x="2025392" y="3657473"/>
            <a:chExt cx="1915627" cy="1484244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4CB58540-4FF9-453F-A9F6-3C932CAF55E0}"/>
                </a:ext>
              </a:extLst>
            </p:cNvPr>
            <p:cNvSpPr/>
            <p:nvPr/>
          </p:nvSpPr>
          <p:spPr>
            <a:xfrm rot="2700000">
              <a:off x="2241988" y="3657473"/>
              <a:ext cx="1484244" cy="1484244"/>
            </a:xfrm>
            <a:prstGeom prst="roundRect">
              <a:avLst>
                <a:gd name="adj" fmla="val 13096"/>
              </a:avLst>
            </a:prstGeom>
            <a:solidFill>
              <a:srgbClr val="EF3078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6E848BF-4E5B-409D-8114-A69D03888E8D}"/>
                </a:ext>
              </a:extLst>
            </p:cNvPr>
            <p:cNvSpPr txBox="1"/>
            <p:nvPr/>
          </p:nvSpPr>
          <p:spPr>
            <a:xfrm>
              <a:off x="2025392" y="3899340"/>
              <a:ext cx="191562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E6E7E9"/>
                  </a:solidFill>
                  <a:latin typeface="Tw Cen MT" panose="020B06020201040206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ccess data</a:t>
              </a:r>
              <a:endParaRPr lang="en-US" sz="2400" b="1" dirty="0">
                <a:solidFill>
                  <a:srgbClr val="E6E7E9"/>
                </a:solidFill>
                <a:latin typeface="Tw Cen MT" panose="020B06020201040206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D1F2508F-5C9D-4593-9EA6-2154B8C51E06}"/>
                </a:ext>
              </a:extLst>
            </p:cNvPr>
            <p:cNvSpPr txBox="1"/>
            <p:nvPr/>
          </p:nvSpPr>
          <p:spPr>
            <a:xfrm>
              <a:off x="2174011" y="4291152"/>
              <a:ext cx="161514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rgbClr val="E6E7E9"/>
                  </a:solidFill>
                  <a:latin typeface="Tw Cen MT" panose="020B0602020104020603" pitchFamily="34" charset="0"/>
                </a:rPr>
                <a:t>Through applications</a:t>
              </a:r>
              <a:endParaRPr lang="en-US" sz="1400" b="1" dirty="0">
                <a:solidFill>
                  <a:srgbClr val="E6E7E9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2C0596D-7FAB-4A1B-AE63-D59D7FD64F5A}"/>
              </a:ext>
            </a:extLst>
          </p:cNvPr>
          <p:cNvGrpSpPr/>
          <p:nvPr/>
        </p:nvGrpSpPr>
        <p:grpSpPr>
          <a:xfrm>
            <a:off x="4107033" y="3657473"/>
            <a:ext cx="1915627" cy="1484244"/>
            <a:chOff x="4107033" y="3657473"/>
            <a:chExt cx="1915627" cy="148424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61459C0E-0DC9-428D-AB3A-8868112E3852}"/>
                </a:ext>
              </a:extLst>
            </p:cNvPr>
            <p:cNvSpPr/>
            <p:nvPr/>
          </p:nvSpPr>
          <p:spPr>
            <a:xfrm rot="2700000">
              <a:off x="4335973" y="3657473"/>
              <a:ext cx="1484244" cy="1484244"/>
            </a:xfrm>
            <a:prstGeom prst="roundRect">
              <a:avLst>
                <a:gd name="adj" fmla="val 13096"/>
              </a:avLst>
            </a:prstGeom>
            <a:solidFill>
              <a:srgbClr val="03A1A4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4B7A73F-F964-48A2-B788-F55F7B9D040D}"/>
                </a:ext>
              </a:extLst>
            </p:cNvPr>
            <p:cNvSpPr txBox="1"/>
            <p:nvPr/>
          </p:nvSpPr>
          <p:spPr>
            <a:xfrm>
              <a:off x="4107033" y="3899340"/>
              <a:ext cx="191562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E6E7E9"/>
                  </a:solidFill>
                  <a:latin typeface="Tw Cen MT" panose="020B0602020104020603" pitchFamily="34" charset="0"/>
                </a:rPr>
                <a:t>Calculation</a:t>
              </a:r>
              <a:endParaRPr lang="en-US" sz="2400" b="1" dirty="0">
                <a:solidFill>
                  <a:srgbClr val="E6E7E9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C3A30DB-CA3E-47FC-A41B-01A64D0FE2E8}"/>
                </a:ext>
              </a:extLst>
            </p:cNvPr>
            <p:cNvSpPr txBox="1"/>
            <p:nvPr/>
          </p:nvSpPr>
          <p:spPr>
            <a:xfrm>
              <a:off x="4243800" y="4248954"/>
              <a:ext cx="161514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rgbClr val="E6E7E9"/>
                  </a:solidFill>
                  <a:latin typeface="Tw Cen MT" panose="020B0602020104020603" pitchFamily="34" charset="0"/>
                </a:rPr>
                <a:t>Deploy measures anytime anywhere</a:t>
              </a:r>
              <a:endParaRPr lang="en-US" sz="1400" b="1" dirty="0">
                <a:solidFill>
                  <a:srgbClr val="E6E7E9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743D9DB-ECBD-4F96-B04B-77A755D8CF78}"/>
              </a:ext>
            </a:extLst>
          </p:cNvPr>
          <p:cNvGrpSpPr/>
          <p:nvPr/>
        </p:nvGrpSpPr>
        <p:grpSpPr>
          <a:xfrm>
            <a:off x="6193110" y="3657473"/>
            <a:ext cx="1915627" cy="1484244"/>
            <a:chOff x="6193110" y="3657473"/>
            <a:chExt cx="1915627" cy="1484244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4958A5D0-184B-4172-86EF-3B81412BDC75}"/>
                </a:ext>
              </a:extLst>
            </p:cNvPr>
            <p:cNvSpPr/>
            <p:nvPr/>
          </p:nvSpPr>
          <p:spPr>
            <a:xfrm rot="2700000">
              <a:off x="6403136" y="3657473"/>
              <a:ext cx="1484244" cy="1484244"/>
            </a:xfrm>
            <a:prstGeom prst="roundRect">
              <a:avLst>
                <a:gd name="adj" fmla="val 13096"/>
              </a:avLst>
            </a:prstGeom>
            <a:solidFill>
              <a:srgbClr val="EE9524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61CC52C-FFC4-4B11-A134-A456A120261F}"/>
                </a:ext>
              </a:extLst>
            </p:cNvPr>
            <p:cNvSpPr txBox="1"/>
            <p:nvPr/>
          </p:nvSpPr>
          <p:spPr>
            <a:xfrm>
              <a:off x="6193110" y="3910291"/>
              <a:ext cx="191562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err="1" smtClean="0">
                  <a:solidFill>
                    <a:srgbClr val="E6E7E9"/>
                  </a:solidFill>
                  <a:latin typeface="Tw Cen MT" panose="020B0602020104020603" pitchFamily="34" charset="0"/>
                </a:rPr>
                <a:t>Mashupdata</a:t>
              </a:r>
              <a:endParaRPr lang="en-US" sz="2000" b="1" dirty="0">
                <a:solidFill>
                  <a:srgbClr val="E6E7E9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F3004BC-4070-449C-B168-FA173654EA82}"/>
                </a:ext>
              </a:extLst>
            </p:cNvPr>
            <p:cNvSpPr txBox="1"/>
            <p:nvPr/>
          </p:nvSpPr>
          <p:spPr>
            <a:xfrm>
              <a:off x="6327578" y="4218002"/>
              <a:ext cx="161514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rgbClr val="E6E7E9"/>
                  </a:solidFill>
                  <a:latin typeface="Tw Cen MT" panose="020B0602020104020603" pitchFamily="34" charset="0"/>
                </a:rPr>
                <a:t> Data </a:t>
              </a:r>
              <a:r>
                <a:rPr lang="en-US" sz="1400" b="1" dirty="0" err="1" smtClean="0">
                  <a:solidFill>
                    <a:srgbClr val="E6E7E9"/>
                  </a:solidFill>
                  <a:latin typeface="Tw Cen MT" panose="020B0602020104020603" pitchFamily="34" charset="0"/>
                </a:rPr>
                <a:t>minning</a:t>
              </a:r>
              <a:endParaRPr lang="en-US" sz="1400" b="1" dirty="0">
                <a:solidFill>
                  <a:srgbClr val="E6E7E9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ACECC14-0B8D-42EC-9AD4-1D0FB247E6A4}"/>
              </a:ext>
            </a:extLst>
          </p:cNvPr>
          <p:cNvGrpSpPr/>
          <p:nvPr/>
        </p:nvGrpSpPr>
        <p:grpSpPr>
          <a:xfrm>
            <a:off x="8283956" y="3657473"/>
            <a:ext cx="1915627" cy="1484244"/>
            <a:chOff x="8283956" y="3657473"/>
            <a:chExt cx="1915627" cy="1484244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1F85CC35-104C-478B-84A0-E8A131FF05F1}"/>
                </a:ext>
              </a:extLst>
            </p:cNvPr>
            <p:cNvSpPr/>
            <p:nvPr/>
          </p:nvSpPr>
          <p:spPr>
            <a:xfrm rot="2700000">
              <a:off x="8497121" y="3657473"/>
              <a:ext cx="1484244" cy="1484244"/>
            </a:xfrm>
            <a:prstGeom prst="roundRect">
              <a:avLst>
                <a:gd name="adj" fmla="val 13096"/>
              </a:avLst>
            </a:prstGeom>
            <a:solidFill>
              <a:srgbClr val="00B0F0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A37347F-3E44-4B80-8900-4191718A79F6}"/>
                </a:ext>
              </a:extLst>
            </p:cNvPr>
            <p:cNvSpPr txBox="1"/>
            <p:nvPr/>
          </p:nvSpPr>
          <p:spPr>
            <a:xfrm>
              <a:off x="8283956" y="3879513"/>
              <a:ext cx="191562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E6E7E9"/>
                  </a:solidFill>
                  <a:latin typeface="Tw Cen MT" panose="020B0602020104020603" pitchFamily="34" charset="0"/>
                </a:rPr>
                <a:t>Get data</a:t>
              </a:r>
              <a:endParaRPr lang="en-US" sz="2400" b="1" dirty="0">
                <a:solidFill>
                  <a:srgbClr val="E6E7E9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4AB09C6-E39A-4081-82E9-5667CBEF5C45}"/>
                </a:ext>
              </a:extLst>
            </p:cNvPr>
            <p:cNvSpPr txBox="1"/>
            <p:nvPr/>
          </p:nvSpPr>
          <p:spPr>
            <a:xfrm>
              <a:off x="8429027" y="4230946"/>
              <a:ext cx="161514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rgbClr val="E6E7E9"/>
                  </a:solidFill>
                  <a:latin typeface="Tw Cen MT" panose="020B0602020104020603" pitchFamily="34" charset="0"/>
                </a:rPr>
                <a:t>Get your own data from </a:t>
              </a:r>
              <a:r>
                <a:rPr lang="en-US" sz="1400" b="1" dirty="0" err="1" smtClean="0">
                  <a:solidFill>
                    <a:srgbClr val="E6E7E9"/>
                  </a:solidFill>
                  <a:latin typeface="Tw Cen MT" panose="020B0602020104020603" pitchFamily="34" charset="0"/>
                </a:rPr>
                <a:t>webapi</a:t>
              </a:r>
              <a:endParaRPr lang="en-US" sz="1400" b="1" dirty="0">
                <a:solidFill>
                  <a:srgbClr val="E6E7E9"/>
                </a:solidFill>
                <a:latin typeface="Tw Cen MT" panose="020B06020201040206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959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E6F1D32-5E75-473D-8A6B-C15296A8E419}"/>
              </a:ext>
            </a:extLst>
          </p:cNvPr>
          <p:cNvGrpSpPr/>
          <p:nvPr/>
        </p:nvGrpSpPr>
        <p:grpSpPr>
          <a:xfrm>
            <a:off x="2456543" y="131812"/>
            <a:ext cx="7278915" cy="937676"/>
            <a:chOff x="2456543" y="131812"/>
            <a:chExt cx="7278915" cy="93767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E8AA9BD-5B28-4BB1-803B-54BB6E1B0DE1}"/>
                </a:ext>
              </a:extLst>
            </p:cNvPr>
            <p:cNvSpPr txBox="1"/>
            <p:nvPr/>
          </p:nvSpPr>
          <p:spPr>
            <a:xfrm>
              <a:off x="2456543" y="131812"/>
              <a:ext cx="727891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0" dirty="0" smtClean="0">
                  <a:solidFill>
                    <a:schemeClr val="bg1">
                      <a:lumMod val="65000"/>
                    </a:schemeClr>
                  </a:solidFill>
                  <a:latin typeface="Tw Cen MT" panose="020B0602020104020603" pitchFamily="34" charset="0"/>
                </a:rPr>
                <a:t>WHAT WILL IT HELP</a:t>
              </a:r>
              <a:endPara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884BCA-1978-49CC-8588-5399D7CABDE7}"/>
                </a:ext>
              </a:extLst>
            </p:cNvPr>
            <p:cNvGrpSpPr/>
            <p:nvPr/>
          </p:nvGrpSpPr>
          <p:grpSpPr>
            <a:xfrm>
              <a:off x="5378756" y="878988"/>
              <a:ext cx="1434489" cy="190500"/>
              <a:chOff x="4679586" y="878988"/>
              <a:chExt cx="1434489" cy="190500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3701A590-ABA9-4BD2-BD64-376A4C227798}"/>
                  </a:ext>
                </a:extLst>
              </p:cNvPr>
              <p:cNvSpPr/>
              <p:nvPr/>
            </p:nvSpPr>
            <p:spPr>
              <a:xfrm>
                <a:off x="4679586" y="878988"/>
                <a:ext cx="190500" cy="190500"/>
              </a:xfrm>
              <a:prstGeom prst="ellipse">
                <a:avLst/>
              </a:prstGeom>
              <a:solidFill>
                <a:srgbClr val="03A1A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3E53B434-A2A6-4C16-99DD-292CE4FD62C4}"/>
                  </a:ext>
                </a:extLst>
              </p:cNvPr>
              <p:cNvSpPr/>
              <p:nvPr/>
            </p:nvSpPr>
            <p:spPr>
              <a:xfrm>
                <a:off x="4990736" y="878988"/>
                <a:ext cx="190500" cy="190500"/>
              </a:xfrm>
              <a:prstGeom prst="ellipse">
                <a:avLst/>
              </a:prstGeom>
              <a:solidFill>
                <a:srgbClr val="EE95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F3E5BC96-17A2-4BD5-BA51-10270687E851}"/>
                  </a:ext>
                </a:extLst>
              </p:cNvPr>
              <p:cNvSpPr/>
              <p:nvPr/>
            </p:nvSpPr>
            <p:spPr>
              <a:xfrm>
                <a:off x="5301522" y="878988"/>
                <a:ext cx="190500" cy="190500"/>
              </a:xfrm>
              <a:prstGeom prst="ellipse">
                <a:avLst/>
              </a:prstGeom>
              <a:solidFill>
                <a:srgbClr val="EF30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1A06ACCC-548D-4873-BD3B-AD3CA2C095B0}"/>
                  </a:ext>
                </a:extLst>
              </p:cNvPr>
              <p:cNvSpPr/>
              <p:nvPr/>
            </p:nvSpPr>
            <p:spPr>
              <a:xfrm>
                <a:off x="5612308" y="878988"/>
                <a:ext cx="190500" cy="190500"/>
              </a:xfrm>
              <a:prstGeom prst="ellipse">
                <a:avLst/>
              </a:prstGeom>
              <a:solidFill>
                <a:srgbClr val="1C7CB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7CBDE4C1-DAF9-476F-B807-27BE954F6C82}"/>
                  </a:ext>
                </a:extLst>
              </p:cNvPr>
              <p:cNvSpPr/>
              <p:nvPr/>
            </p:nvSpPr>
            <p:spPr>
              <a:xfrm>
                <a:off x="5923575" y="878988"/>
                <a:ext cx="190500" cy="1905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E9C430E-A890-47A0-AF70-8F703827D9E8}"/>
              </a:ext>
            </a:extLst>
          </p:cNvPr>
          <p:cNvCxnSpPr>
            <a:cxnSpLocks/>
          </p:cNvCxnSpPr>
          <p:nvPr/>
        </p:nvCxnSpPr>
        <p:spPr>
          <a:xfrm>
            <a:off x="1637748" y="4494696"/>
            <a:ext cx="89154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45CABCA-A2FE-44C0-B1CB-8915E80620AD}"/>
              </a:ext>
            </a:extLst>
          </p:cNvPr>
          <p:cNvCxnSpPr>
            <a:cxnSpLocks/>
          </p:cNvCxnSpPr>
          <p:nvPr/>
        </p:nvCxnSpPr>
        <p:spPr>
          <a:xfrm>
            <a:off x="1637748" y="3110396"/>
            <a:ext cx="8915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F2C622-B887-4BE0-9FEA-C960231F03AE}"/>
              </a:ext>
            </a:extLst>
          </p:cNvPr>
          <p:cNvCxnSpPr>
            <a:cxnSpLocks/>
          </p:cNvCxnSpPr>
          <p:nvPr/>
        </p:nvCxnSpPr>
        <p:spPr>
          <a:xfrm flipV="1">
            <a:off x="1637748" y="1802296"/>
            <a:ext cx="0" cy="269240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B39F9C7-11B4-4469-A651-B06ADFA5D6F3}"/>
              </a:ext>
            </a:extLst>
          </p:cNvPr>
          <p:cNvCxnSpPr>
            <a:cxnSpLocks/>
          </p:cNvCxnSpPr>
          <p:nvPr/>
        </p:nvCxnSpPr>
        <p:spPr>
          <a:xfrm flipV="1">
            <a:off x="3123648" y="1802296"/>
            <a:ext cx="0" cy="269240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95DBDD1-0DF7-4017-AF79-0B0FDC7772AD}"/>
              </a:ext>
            </a:extLst>
          </p:cNvPr>
          <p:cNvCxnSpPr>
            <a:cxnSpLocks/>
          </p:cNvCxnSpPr>
          <p:nvPr/>
        </p:nvCxnSpPr>
        <p:spPr>
          <a:xfrm flipV="1">
            <a:off x="4609548" y="1802296"/>
            <a:ext cx="0" cy="269240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D681A20-6C7A-40DA-9CBC-99B26BBDB570}"/>
              </a:ext>
            </a:extLst>
          </p:cNvPr>
          <p:cNvCxnSpPr>
            <a:cxnSpLocks/>
          </p:cNvCxnSpPr>
          <p:nvPr/>
        </p:nvCxnSpPr>
        <p:spPr>
          <a:xfrm flipV="1">
            <a:off x="6095448" y="1802296"/>
            <a:ext cx="0" cy="269240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29AD0CD-C045-419B-A9AB-F0B2FA085F0F}"/>
              </a:ext>
            </a:extLst>
          </p:cNvPr>
          <p:cNvCxnSpPr>
            <a:cxnSpLocks/>
          </p:cNvCxnSpPr>
          <p:nvPr/>
        </p:nvCxnSpPr>
        <p:spPr>
          <a:xfrm flipV="1">
            <a:off x="7581348" y="1802296"/>
            <a:ext cx="0" cy="269240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697378F-E498-4F63-8662-9EC0CDAE0F3C}"/>
              </a:ext>
            </a:extLst>
          </p:cNvPr>
          <p:cNvCxnSpPr>
            <a:cxnSpLocks/>
          </p:cNvCxnSpPr>
          <p:nvPr/>
        </p:nvCxnSpPr>
        <p:spPr>
          <a:xfrm flipV="1">
            <a:off x="9067248" y="1802296"/>
            <a:ext cx="0" cy="269240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7111F78-A1C0-4587-9843-58377FC6A097}"/>
              </a:ext>
            </a:extLst>
          </p:cNvPr>
          <p:cNvCxnSpPr>
            <a:cxnSpLocks/>
          </p:cNvCxnSpPr>
          <p:nvPr/>
        </p:nvCxnSpPr>
        <p:spPr>
          <a:xfrm flipV="1">
            <a:off x="10553148" y="1802296"/>
            <a:ext cx="0" cy="269240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81E1737-FEC8-4E84-AEA4-CC2DBF29AE72}"/>
              </a:ext>
            </a:extLst>
          </p:cNvPr>
          <p:cNvCxnSpPr>
            <a:cxnSpLocks/>
          </p:cNvCxnSpPr>
          <p:nvPr/>
        </p:nvCxnSpPr>
        <p:spPr>
          <a:xfrm>
            <a:off x="1637748" y="1802296"/>
            <a:ext cx="8915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D8953AC-AA55-4F9F-B14E-3BF914844D62}"/>
              </a:ext>
            </a:extLst>
          </p:cNvPr>
          <p:cNvCxnSpPr>
            <a:cxnSpLocks/>
          </p:cNvCxnSpPr>
          <p:nvPr/>
        </p:nvCxnSpPr>
        <p:spPr>
          <a:xfrm>
            <a:off x="1637748" y="2462696"/>
            <a:ext cx="1485609" cy="1201646"/>
          </a:xfrm>
          <a:prstGeom prst="line">
            <a:avLst/>
          </a:prstGeom>
          <a:ln w="3810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3F2AB26-8BF0-47C0-849C-589B06D2EC56}"/>
              </a:ext>
            </a:extLst>
          </p:cNvPr>
          <p:cNvCxnSpPr>
            <a:cxnSpLocks/>
          </p:cNvCxnSpPr>
          <p:nvPr/>
        </p:nvCxnSpPr>
        <p:spPr>
          <a:xfrm flipV="1">
            <a:off x="3123497" y="3102924"/>
            <a:ext cx="1485229" cy="555069"/>
          </a:xfrm>
          <a:prstGeom prst="line">
            <a:avLst/>
          </a:prstGeom>
          <a:ln w="3810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E3CEDE0-68BA-423D-B4AE-48F8BA519005}"/>
              </a:ext>
            </a:extLst>
          </p:cNvPr>
          <p:cNvCxnSpPr>
            <a:cxnSpLocks/>
          </p:cNvCxnSpPr>
          <p:nvPr/>
        </p:nvCxnSpPr>
        <p:spPr>
          <a:xfrm>
            <a:off x="4609018" y="3110396"/>
            <a:ext cx="1484997" cy="270062"/>
          </a:xfrm>
          <a:prstGeom prst="line">
            <a:avLst/>
          </a:prstGeom>
          <a:ln w="3810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B820569-B1A9-4909-9AB0-F425B5E9E04F}"/>
              </a:ext>
            </a:extLst>
          </p:cNvPr>
          <p:cNvCxnSpPr>
            <a:cxnSpLocks/>
          </p:cNvCxnSpPr>
          <p:nvPr/>
        </p:nvCxnSpPr>
        <p:spPr>
          <a:xfrm flipV="1">
            <a:off x="6100191" y="2462696"/>
            <a:ext cx="1476416" cy="917763"/>
          </a:xfrm>
          <a:prstGeom prst="line">
            <a:avLst/>
          </a:prstGeom>
          <a:ln w="3810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945CE89-02F7-4F51-89F5-0DD3F600D780}"/>
              </a:ext>
            </a:extLst>
          </p:cNvPr>
          <p:cNvCxnSpPr>
            <a:cxnSpLocks/>
          </p:cNvCxnSpPr>
          <p:nvPr/>
        </p:nvCxnSpPr>
        <p:spPr>
          <a:xfrm>
            <a:off x="7584883" y="2462695"/>
            <a:ext cx="1481962" cy="973044"/>
          </a:xfrm>
          <a:prstGeom prst="line">
            <a:avLst/>
          </a:prstGeom>
          <a:ln w="3810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EAFC681-E3A9-40D3-9B18-CC9C413BAE1C}"/>
              </a:ext>
            </a:extLst>
          </p:cNvPr>
          <p:cNvCxnSpPr>
            <a:cxnSpLocks/>
          </p:cNvCxnSpPr>
          <p:nvPr/>
        </p:nvCxnSpPr>
        <p:spPr>
          <a:xfrm flipV="1">
            <a:off x="9070916" y="2563551"/>
            <a:ext cx="1482225" cy="872188"/>
          </a:xfrm>
          <a:prstGeom prst="line">
            <a:avLst/>
          </a:prstGeom>
          <a:ln w="3810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787C2F8-3A8C-4327-B7A9-EE562E762682}"/>
              </a:ext>
            </a:extLst>
          </p:cNvPr>
          <p:cNvCxnSpPr>
            <a:cxnSpLocks/>
          </p:cNvCxnSpPr>
          <p:nvPr/>
        </p:nvCxnSpPr>
        <p:spPr>
          <a:xfrm flipV="1">
            <a:off x="1639697" y="2234472"/>
            <a:ext cx="1482721" cy="1230500"/>
          </a:xfrm>
          <a:prstGeom prst="line">
            <a:avLst/>
          </a:prstGeom>
          <a:ln w="3810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05BE676-88D6-470D-9EBD-6EBDB3DFDA43}"/>
              </a:ext>
            </a:extLst>
          </p:cNvPr>
          <p:cNvCxnSpPr>
            <a:cxnSpLocks/>
          </p:cNvCxnSpPr>
          <p:nvPr/>
        </p:nvCxnSpPr>
        <p:spPr>
          <a:xfrm flipH="1" flipV="1">
            <a:off x="3122209" y="2234096"/>
            <a:ext cx="1486517" cy="520701"/>
          </a:xfrm>
          <a:prstGeom prst="line">
            <a:avLst/>
          </a:prstGeom>
          <a:ln w="3810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77711E7-D312-4819-9D90-A74CED8E1460}"/>
              </a:ext>
            </a:extLst>
          </p:cNvPr>
          <p:cNvCxnSpPr>
            <a:cxnSpLocks/>
          </p:cNvCxnSpPr>
          <p:nvPr/>
        </p:nvCxnSpPr>
        <p:spPr>
          <a:xfrm flipH="1">
            <a:off x="4608318" y="2366887"/>
            <a:ext cx="1479001" cy="401727"/>
          </a:xfrm>
          <a:prstGeom prst="line">
            <a:avLst/>
          </a:prstGeom>
          <a:ln w="3810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9764DEA-CA56-49A4-A636-BDA088FA1A08}"/>
              </a:ext>
            </a:extLst>
          </p:cNvPr>
          <p:cNvCxnSpPr>
            <a:cxnSpLocks/>
          </p:cNvCxnSpPr>
          <p:nvPr/>
        </p:nvCxnSpPr>
        <p:spPr>
          <a:xfrm flipH="1" flipV="1">
            <a:off x="6097362" y="2366887"/>
            <a:ext cx="1479245" cy="819709"/>
          </a:xfrm>
          <a:prstGeom prst="line">
            <a:avLst/>
          </a:prstGeom>
          <a:ln w="3810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5E96CCA-6E4D-4527-B5F7-FF450677A3D2}"/>
              </a:ext>
            </a:extLst>
          </p:cNvPr>
          <p:cNvCxnSpPr>
            <a:cxnSpLocks/>
          </p:cNvCxnSpPr>
          <p:nvPr/>
        </p:nvCxnSpPr>
        <p:spPr>
          <a:xfrm flipH="1">
            <a:off x="7580817" y="2386495"/>
            <a:ext cx="1486354" cy="812801"/>
          </a:xfrm>
          <a:prstGeom prst="line">
            <a:avLst/>
          </a:prstGeom>
          <a:ln w="3810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D0EC2A1-0923-4397-938D-741D874DB208}"/>
              </a:ext>
            </a:extLst>
          </p:cNvPr>
          <p:cNvCxnSpPr>
            <a:cxnSpLocks/>
          </p:cNvCxnSpPr>
          <p:nvPr/>
        </p:nvCxnSpPr>
        <p:spPr>
          <a:xfrm flipH="1" flipV="1">
            <a:off x="9067171" y="2386496"/>
            <a:ext cx="1485837" cy="1100980"/>
          </a:xfrm>
          <a:prstGeom prst="line">
            <a:avLst/>
          </a:prstGeom>
          <a:ln w="3810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Oval 97">
            <a:extLst>
              <a:ext uri="{FF2B5EF4-FFF2-40B4-BE49-F238E27FC236}">
                <a16:creationId xmlns:a16="http://schemas.microsoft.com/office/drawing/2014/main" id="{17E0A217-DA29-4B3E-B83E-58F965D803DB}"/>
              </a:ext>
            </a:extLst>
          </p:cNvPr>
          <p:cNvSpPr/>
          <p:nvPr/>
        </p:nvSpPr>
        <p:spPr>
          <a:xfrm>
            <a:off x="1556594" y="2382949"/>
            <a:ext cx="146050" cy="14605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478BAE5C-AAB0-4E79-B7BB-0D52069414DA}"/>
              </a:ext>
            </a:extLst>
          </p:cNvPr>
          <p:cNvSpPr/>
          <p:nvPr/>
        </p:nvSpPr>
        <p:spPr>
          <a:xfrm>
            <a:off x="3055073" y="3554618"/>
            <a:ext cx="146050" cy="14605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81A87A27-BD60-48A2-8180-0952EE3CC11A}"/>
              </a:ext>
            </a:extLst>
          </p:cNvPr>
          <p:cNvSpPr/>
          <p:nvPr/>
        </p:nvSpPr>
        <p:spPr>
          <a:xfrm>
            <a:off x="4537614" y="3036254"/>
            <a:ext cx="146050" cy="14605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BE8579FC-DD04-4F63-840E-570B31D25771}"/>
              </a:ext>
            </a:extLst>
          </p:cNvPr>
          <p:cNvSpPr/>
          <p:nvPr/>
        </p:nvSpPr>
        <p:spPr>
          <a:xfrm>
            <a:off x="6025582" y="3302110"/>
            <a:ext cx="146050" cy="14605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F39244FB-DD91-4DC8-8DED-CBBC3C00BC08}"/>
              </a:ext>
            </a:extLst>
          </p:cNvPr>
          <p:cNvSpPr/>
          <p:nvPr/>
        </p:nvSpPr>
        <p:spPr>
          <a:xfrm>
            <a:off x="7511858" y="2396098"/>
            <a:ext cx="146050" cy="14605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8CCE2D17-8635-4DD7-8DBE-482E4C7BF227}"/>
              </a:ext>
            </a:extLst>
          </p:cNvPr>
          <p:cNvSpPr/>
          <p:nvPr/>
        </p:nvSpPr>
        <p:spPr>
          <a:xfrm>
            <a:off x="8997354" y="3348381"/>
            <a:ext cx="146050" cy="14605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4DB2F434-E508-4927-AE1D-3A74079D77A9}"/>
              </a:ext>
            </a:extLst>
          </p:cNvPr>
          <p:cNvSpPr/>
          <p:nvPr/>
        </p:nvSpPr>
        <p:spPr>
          <a:xfrm>
            <a:off x="10479642" y="2490526"/>
            <a:ext cx="146050" cy="14605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73079A90-110C-4072-91BB-5B962BCE33B1}"/>
              </a:ext>
            </a:extLst>
          </p:cNvPr>
          <p:cNvSpPr/>
          <p:nvPr/>
        </p:nvSpPr>
        <p:spPr>
          <a:xfrm>
            <a:off x="1556594" y="3398298"/>
            <a:ext cx="146050" cy="14605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53D26088-59D6-4125-9A5E-F53E85D53E1F}"/>
              </a:ext>
            </a:extLst>
          </p:cNvPr>
          <p:cNvSpPr/>
          <p:nvPr/>
        </p:nvSpPr>
        <p:spPr>
          <a:xfrm>
            <a:off x="3050826" y="2163501"/>
            <a:ext cx="146050" cy="14605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9E323FBE-EA80-4E98-A5A2-5DD06D9176B8}"/>
              </a:ext>
            </a:extLst>
          </p:cNvPr>
          <p:cNvSpPr/>
          <p:nvPr/>
        </p:nvSpPr>
        <p:spPr>
          <a:xfrm>
            <a:off x="4540442" y="2665617"/>
            <a:ext cx="146050" cy="14605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37EC8633-BE23-49D9-BE1F-7AE325460CBA}"/>
              </a:ext>
            </a:extLst>
          </p:cNvPr>
          <p:cNvSpPr/>
          <p:nvPr/>
        </p:nvSpPr>
        <p:spPr>
          <a:xfrm>
            <a:off x="6017015" y="2299113"/>
            <a:ext cx="146050" cy="14605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A805148D-C1D0-48E9-ADAF-B4BD29CDA8F5}"/>
              </a:ext>
            </a:extLst>
          </p:cNvPr>
          <p:cNvSpPr/>
          <p:nvPr/>
        </p:nvSpPr>
        <p:spPr>
          <a:xfrm>
            <a:off x="7512263" y="3098442"/>
            <a:ext cx="146050" cy="14605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63D64F64-58B4-435B-8B04-F8B33E67AE9C}"/>
              </a:ext>
            </a:extLst>
          </p:cNvPr>
          <p:cNvSpPr/>
          <p:nvPr/>
        </p:nvSpPr>
        <p:spPr>
          <a:xfrm>
            <a:off x="8993887" y="2315102"/>
            <a:ext cx="146050" cy="14605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D6E14D52-EE01-40FE-91B8-994A170F61B0}"/>
              </a:ext>
            </a:extLst>
          </p:cNvPr>
          <p:cNvSpPr/>
          <p:nvPr/>
        </p:nvSpPr>
        <p:spPr>
          <a:xfrm>
            <a:off x="10483253" y="3414452"/>
            <a:ext cx="146050" cy="14605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08B4873-7876-4A61-B54D-9C83620C2E5C}"/>
              </a:ext>
            </a:extLst>
          </p:cNvPr>
          <p:cNvGrpSpPr/>
          <p:nvPr/>
        </p:nvGrpSpPr>
        <p:grpSpPr>
          <a:xfrm>
            <a:off x="808166" y="4572937"/>
            <a:ext cx="1659161" cy="873785"/>
            <a:chOff x="643618" y="5094741"/>
            <a:chExt cx="1659161" cy="873785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E2470082-F95C-4155-820B-D929588B3F16}"/>
                </a:ext>
              </a:extLst>
            </p:cNvPr>
            <p:cNvSpPr txBox="1"/>
            <p:nvPr/>
          </p:nvSpPr>
          <p:spPr>
            <a:xfrm>
              <a:off x="797382" y="5094741"/>
              <a:ext cx="135163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REST API</a:t>
              </a:r>
              <a:endParaRPr lang="en-US" sz="2000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1C11D39B-7EC2-4FB1-88F9-6211030B4A4F}"/>
                </a:ext>
              </a:extLst>
            </p:cNvPr>
            <p:cNvSpPr txBox="1"/>
            <p:nvPr/>
          </p:nvSpPr>
          <p:spPr>
            <a:xfrm>
              <a:off x="643618" y="5383751"/>
              <a:ext cx="165916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Create friendly view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88214EF0-03B7-41F5-9987-BA4D322BE236}"/>
              </a:ext>
            </a:extLst>
          </p:cNvPr>
          <p:cNvGrpSpPr/>
          <p:nvPr/>
        </p:nvGrpSpPr>
        <p:grpSpPr>
          <a:xfrm>
            <a:off x="2292628" y="4598965"/>
            <a:ext cx="1659161" cy="601536"/>
            <a:chOff x="643618" y="5120769"/>
            <a:chExt cx="1659161" cy="601536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25C0FDB-38A3-4316-8496-FCCCE17FF5D8}"/>
                </a:ext>
              </a:extLst>
            </p:cNvPr>
            <p:cNvSpPr txBox="1"/>
            <p:nvPr/>
          </p:nvSpPr>
          <p:spPr>
            <a:xfrm>
              <a:off x="797380" y="5120769"/>
              <a:ext cx="13516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rgbClr val="03A1A4"/>
                  </a:solidFill>
                  <a:latin typeface="Tw Cen MT" panose="020B0602020104020603" pitchFamily="34" charset="0"/>
                </a:rPr>
                <a:t>BRANDING</a:t>
              </a:r>
              <a:endParaRPr lang="en-US" b="1" dirty="0">
                <a:solidFill>
                  <a:srgbClr val="03A1A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41B01FBD-60E2-4B20-8670-F4C1C626928D}"/>
                </a:ext>
              </a:extLst>
            </p:cNvPr>
            <p:cNvSpPr txBox="1"/>
            <p:nvPr/>
          </p:nvSpPr>
          <p:spPr>
            <a:xfrm>
              <a:off x="643618" y="5383751"/>
              <a:ext cx="16591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Provide branding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A47C8A74-1A89-4847-BA7C-AA18A632D444}"/>
              </a:ext>
            </a:extLst>
          </p:cNvPr>
          <p:cNvGrpSpPr/>
          <p:nvPr/>
        </p:nvGrpSpPr>
        <p:grpSpPr>
          <a:xfrm>
            <a:off x="3762042" y="4572937"/>
            <a:ext cx="1793223" cy="627564"/>
            <a:chOff x="626923" y="5094741"/>
            <a:chExt cx="1793223" cy="627564"/>
          </a:xfrm>
        </p:grpSpPr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C380BEDE-F4FD-4E12-9592-BD056ABEEDD8}"/>
                </a:ext>
              </a:extLst>
            </p:cNvPr>
            <p:cNvSpPr txBox="1"/>
            <p:nvPr/>
          </p:nvSpPr>
          <p:spPr>
            <a:xfrm>
              <a:off x="626923" y="5094741"/>
              <a:ext cx="17932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Service Offers</a:t>
              </a:r>
              <a:endParaRPr lang="en-US" sz="2000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86F62AFE-F7B9-4672-851A-31D96FD961F1}"/>
                </a:ext>
              </a:extLst>
            </p:cNvPr>
            <p:cNvSpPr txBox="1"/>
            <p:nvPr/>
          </p:nvSpPr>
          <p:spPr>
            <a:xfrm>
              <a:off x="643618" y="5383751"/>
              <a:ext cx="16591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- SAAS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BD7D060B-8590-4169-B811-CD14C13A92D6}"/>
              </a:ext>
            </a:extLst>
          </p:cNvPr>
          <p:cNvGrpSpPr/>
          <p:nvPr/>
        </p:nvGrpSpPr>
        <p:grpSpPr>
          <a:xfrm>
            <a:off x="5264434" y="4572937"/>
            <a:ext cx="1659161" cy="808387"/>
            <a:chOff x="643618" y="5094741"/>
            <a:chExt cx="1659161" cy="808387"/>
          </a:xfrm>
        </p:grpSpPr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3CC9DE27-ABAD-4B10-8D86-8A211443CE5B}"/>
                </a:ext>
              </a:extLst>
            </p:cNvPr>
            <p:cNvSpPr txBox="1"/>
            <p:nvPr/>
          </p:nvSpPr>
          <p:spPr>
            <a:xfrm>
              <a:off x="797382" y="5094741"/>
              <a:ext cx="135163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3A1A4"/>
                  </a:solidFill>
                  <a:latin typeface="Tw Cen MT" panose="020B0602020104020603" pitchFamily="34" charset="0"/>
                </a:rPr>
                <a:t>IMPROVE USEABILITY</a:t>
              </a:r>
              <a:endParaRPr lang="en-US" sz="1600" b="1" dirty="0">
                <a:solidFill>
                  <a:srgbClr val="03A1A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4A2E6AF0-A577-46B5-9085-04549AA8ECA5}"/>
                </a:ext>
              </a:extLst>
            </p:cNvPr>
            <p:cNvSpPr txBox="1"/>
            <p:nvPr/>
          </p:nvSpPr>
          <p:spPr>
            <a:xfrm>
              <a:off x="643618" y="5564574"/>
              <a:ext cx="16591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- Limited view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1A61FC9F-346C-4AB8-90AE-7CCF730EB871}"/>
              </a:ext>
            </a:extLst>
          </p:cNvPr>
          <p:cNvGrpSpPr/>
          <p:nvPr/>
        </p:nvGrpSpPr>
        <p:grpSpPr>
          <a:xfrm>
            <a:off x="6716741" y="4572937"/>
            <a:ext cx="1691728" cy="873785"/>
            <a:chOff x="611051" y="5094741"/>
            <a:chExt cx="1691728" cy="873785"/>
          </a:xfrm>
        </p:grpSpPr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5A70E7C1-B94F-422A-9EAD-DC12C930E5D7}"/>
                </a:ext>
              </a:extLst>
            </p:cNvPr>
            <p:cNvSpPr txBox="1"/>
            <p:nvPr/>
          </p:nvSpPr>
          <p:spPr>
            <a:xfrm>
              <a:off x="611051" y="5094741"/>
              <a:ext cx="16553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Authentication</a:t>
              </a:r>
              <a:endParaRPr lang="en-US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5A1574B0-8B2E-4C34-9479-CF9F0A8E71B6}"/>
                </a:ext>
              </a:extLst>
            </p:cNvPr>
            <p:cNvSpPr txBox="1"/>
            <p:nvPr/>
          </p:nvSpPr>
          <p:spPr>
            <a:xfrm>
              <a:off x="643618" y="5383751"/>
              <a:ext cx="165916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err="1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PowerBI</a:t>
              </a:r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 content pack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4F2812D8-5DC3-4AE2-BA0B-174790875DB0}"/>
              </a:ext>
            </a:extLst>
          </p:cNvPr>
          <p:cNvGrpSpPr/>
          <p:nvPr/>
        </p:nvGrpSpPr>
        <p:grpSpPr>
          <a:xfrm>
            <a:off x="8218310" y="4572937"/>
            <a:ext cx="1691730" cy="750675"/>
            <a:chOff x="643618" y="5094741"/>
            <a:chExt cx="1691730" cy="750675"/>
          </a:xfrm>
        </p:grpSpPr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47C202C0-64D0-4F31-BC9B-F67123CCB563}"/>
                </a:ext>
              </a:extLst>
            </p:cNvPr>
            <p:cNvSpPr txBox="1"/>
            <p:nvPr/>
          </p:nvSpPr>
          <p:spPr>
            <a:xfrm>
              <a:off x="797382" y="5094741"/>
              <a:ext cx="15379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03A1A4"/>
                  </a:solidFill>
                  <a:latin typeface="Tw Cen MT" panose="020B0602020104020603" pitchFamily="34" charset="0"/>
                </a:rPr>
                <a:t>Direct Query</a:t>
              </a:r>
              <a:endParaRPr lang="en-US" sz="2000" b="1" dirty="0">
                <a:solidFill>
                  <a:srgbClr val="03A1A4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30F5172C-B509-4350-BCD8-43DDE852AA99}"/>
                </a:ext>
              </a:extLst>
            </p:cNvPr>
            <p:cNvSpPr txBox="1"/>
            <p:nvPr/>
          </p:nvSpPr>
          <p:spPr>
            <a:xfrm>
              <a:off x="643618" y="5383751"/>
              <a:ext cx="16591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-Enable direct queries</a:t>
              </a:r>
            </a:p>
            <a:p>
              <a:pPr algn="ctr"/>
              <a:r>
                <a:rPr lang="en-US" sz="12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- ODBC driver</a:t>
              </a:r>
              <a:endParaRPr lang="en-US" sz="12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BE743EFA-1721-4223-AC59-EAAF24D95476}"/>
              </a:ext>
            </a:extLst>
          </p:cNvPr>
          <p:cNvGrpSpPr/>
          <p:nvPr/>
        </p:nvGrpSpPr>
        <p:grpSpPr>
          <a:xfrm>
            <a:off x="9719879" y="4572937"/>
            <a:ext cx="1659161" cy="627564"/>
            <a:chOff x="643618" y="5094741"/>
            <a:chExt cx="1659161" cy="627564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BE58AEA7-2CA8-4278-9747-009952DABAA0}"/>
                </a:ext>
              </a:extLst>
            </p:cNvPr>
            <p:cNvSpPr txBox="1"/>
            <p:nvPr/>
          </p:nvSpPr>
          <p:spPr>
            <a:xfrm>
              <a:off x="797382" y="5094741"/>
              <a:ext cx="15053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EF3078"/>
                  </a:solidFill>
                  <a:latin typeface="Tw Cen MT" panose="020B0602020104020603" pitchFamily="34" charset="0"/>
                </a:rPr>
                <a:t>ODBC driver</a:t>
              </a:r>
              <a:endParaRPr lang="en-US" sz="2000" b="1" dirty="0">
                <a:solidFill>
                  <a:srgbClr val="EF3078"/>
                </a:solidFill>
                <a:latin typeface="Tw Cen MT" panose="020B0602020104020603" pitchFamily="34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B23F128C-82AF-4957-8893-5955124B8D87}"/>
                </a:ext>
              </a:extLst>
            </p:cNvPr>
            <p:cNvSpPr txBox="1"/>
            <p:nvPr/>
          </p:nvSpPr>
          <p:spPr>
            <a:xfrm>
              <a:off x="643618" y="5383751"/>
              <a:ext cx="16591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A6A6A6"/>
                  </a:solidFill>
                  <a:latin typeface="Tw Cen MT" panose="020B0602020104020603" pitchFamily="34" charset="0"/>
                </a:rPr>
                <a:t>-support</a:t>
              </a:r>
              <a:endParaRPr lang="en-US" sz="1600" b="1" dirty="0">
                <a:solidFill>
                  <a:srgbClr val="A6A6A6"/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2146AB71-D749-4D5B-8E6D-788771A16871}"/>
              </a:ext>
            </a:extLst>
          </p:cNvPr>
          <p:cNvGrpSpPr/>
          <p:nvPr/>
        </p:nvGrpSpPr>
        <p:grpSpPr>
          <a:xfrm>
            <a:off x="2318028" y="5684781"/>
            <a:ext cx="4183948" cy="823577"/>
            <a:chOff x="2331280" y="5711285"/>
            <a:chExt cx="3483881" cy="823577"/>
          </a:xfrm>
        </p:grpSpPr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8FA68284-CBC2-4DFF-983C-B9666F893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duotone>
                <a:prstClr val="black"/>
                <a:srgbClr val="FFCC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1280" y="5853176"/>
              <a:ext cx="681686" cy="681686"/>
            </a:xfrm>
            <a:prstGeom prst="rect">
              <a:avLst/>
            </a:prstGeom>
          </p:spPr>
        </p:pic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DB5AF40A-0A33-4314-B041-4A94FDB2A85E}"/>
                </a:ext>
              </a:extLst>
            </p:cNvPr>
            <p:cNvGrpSpPr/>
            <p:nvPr/>
          </p:nvGrpSpPr>
          <p:grpSpPr>
            <a:xfrm>
              <a:off x="3012965" y="5711285"/>
              <a:ext cx="2802196" cy="709142"/>
              <a:chOff x="797381" y="5094741"/>
              <a:chExt cx="2802196" cy="709142"/>
            </a:xfrm>
          </p:grpSpPr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EC15ECEB-31F3-4745-8803-5820E34030CD}"/>
                  </a:ext>
                </a:extLst>
              </p:cNvPr>
              <p:cNvSpPr txBox="1"/>
              <p:nvPr/>
            </p:nvSpPr>
            <p:spPr>
              <a:xfrm>
                <a:off x="797381" y="5094741"/>
                <a:ext cx="280219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400" b="1" dirty="0" smtClean="0">
                    <a:solidFill>
                      <a:srgbClr val="FFC000"/>
                    </a:solidFill>
                    <a:latin typeface="Tw Cen MT" panose="020B0602020104020603" pitchFamily="34" charset="0"/>
                  </a:rPr>
                  <a:t>Create new data sources</a:t>
                </a:r>
                <a:endParaRPr lang="en-US" sz="2400" b="1" dirty="0">
                  <a:solidFill>
                    <a:srgbClr val="FFC000"/>
                  </a:solidFill>
                  <a:latin typeface="Tw Cen MT" panose="020B0602020104020603" pitchFamily="34" charset="0"/>
                </a:endParaRPr>
              </a:p>
            </p:txBody>
          </p:sp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id="{4CA7A453-7D15-4170-9702-4B0D11389712}"/>
                  </a:ext>
                </a:extLst>
              </p:cNvPr>
              <p:cNvSpPr txBox="1"/>
              <p:nvPr/>
            </p:nvSpPr>
            <p:spPr>
              <a:xfrm>
                <a:off x="800425" y="5434551"/>
                <a:ext cx="2122959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>
                    <a:solidFill>
                      <a:srgbClr val="A6A6A6"/>
                    </a:solidFill>
                    <a:latin typeface="Tw Cen MT" panose="020B0602020104020603" pitchFamily="34" charset="0"/>
                  </a:rPr>
                  <a:t>- Helps it amazingly!</a:t>
                </a:r>
                <a:endParaRPr lang="en-US" b="1" dirty="0">
                  <a:solidFill>
                    <a:srgbClr val="A6A6A6"/>
                  </a:solidFill>
                  <a:latin typeface="Tw Cen MT" panose="020B0602020104020603" pitchFamily="34" charset="0"/>
                </a:endParaRPr>
              </a:p>
            </p:txBody>
          </p:sp>
        </p:grp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536CCE94-B039-46DE-B91D-1AFA51B12990}"/>
              </a:ext>
            </a:extLst>
          </p:cNvPr>
          <p:cNvGrpSpPr/>
          <p:nvPr/>
        </p:nvGrpSpPr>
        <p:grpSpPr>
          <a:xfrm>
            <a:off x="6763881" y="5684781"/>
            <a:ext cx="4430987" cy="836075"/>
            <a:chOff x="6777133" y="5711285"/>
            <a:chExt cx="4430987" cy="836075"/>
          </a:xfrm>
        </p:grpSpPr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C9C60603-0251-42F7-9B59-D7115FC6E9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7133" y="5853176"/>
              <a:ext cx="694184" cy="694184"/>
            </a:xfrm>
            <a:prstGeom prst="rect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</p:pic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5932E273-FF9E-4413-9D7C-5EC1AB305F6D}"/>
                </a:ext>
              </a:extLst>
            </p:cNvPr>
            <p:cNvGrpSpPr/>
            <p:nvPr/>
          </p:nvGrpSpPr>
          <p:grpSpPr>
            <a:xfrm>
              <a:off x="7513361" y="5711285"/>
              <a:ext cx="3694759" cy="709142"/>
              <a:chOff x="797381" y="5094741"/>
              <a:chExt cx="3694759" cy="709142"/>
            </a:xfrm>
          </p:grpSpPr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897BDCE7-9BC6-4AAA-8386-B20F5383212D}"/>
                  </a:ext>
                </a:extLst>
              </p:cNvPr>
              <p:cNvSpPr txBox="1"/>
              <p:nvPr/>
            </p:nvSpPr>
            <p:spPr>
              <a:xfrm>
                <a:off x="797381" y="5094741"/>
                <a:ext cx="369475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400" b="1" dirty="0" smtClean="0">
                    <a:solidFill>
                      <a:srgbClr val="03A1A4"/>
                    </a:solidFill>
                    <a:latin typeface="Tw Cen MT" panose="020B0602020104020603" pitchFamily="34" charset="0"/>
                  </a:rPr>
                  <a:t>Extend an existing source</a:t>
                </a:r>
                <a:endParaRPr lang="en-US" sz="2400" b="1" dirty="0">
                  <a:solidFill>
                    <a:srgbClr val="03A1A4"/>
                  </a:solidFill>
                  <a:latin typeface="Tw Cen MT" panose="020B0602020104020603" pitchFamily="34" charset="0"/>
                </a:endParaRP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348042A2-C2DA-41D3-939A-1AF61489FB85}"/>
                  </a:ext>
                </a:extLst>
              </p:cNvPr>
              <p:cNvSpPr txBox="1"/>
              <p:nvPr/>
            </p:nvSpPr>
            <p:spPr>
              <a:xfrm>
                <a:off x="800425" y="5434551"/>
                <a:ext cx="2122959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>
                    <a:solidFill>
                      <a:srgbClr val="A6A6A6"/>
                    </a:solidFill>
                    <a:latin typeface="Tw Cen MT" panose="020B0602020104020603" pitchFamily="34" charset="0"/>
                  </a:rPr>
                  <a:t>- Awesome</a:t>
                </a:r>
                <a:endParaRPr lang="en-US" b="1" dirty="0">
                  <a:solidFill>
                    <a:srgbClr val="A6A6A6"/>
                  </a:solidFill>
                  <a:latin typeface="Tw Cen MT" panose="020B06020201040206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88496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5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75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25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2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250"/>
                            </p:stCondLst>
                            <p:childTnLst>
                              <p:par>
                                <p:cTn id="5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750"/>
                            </p:stCondLst>
                            <p:childTnLst>
                              <p:par>
                                <p:cTn id="5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2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2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750"/>
                            </p:stCondLst>
                            <p:childTnLst>
                              <p:par>
                                <p:cTn id="7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500"/>
                            </p:stCondLst>
                            <p:childTnLst>
                              <p:par>
                                <p:cTn id="8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2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5750"/>
                            </p:stCondLst>
                            <p:childTnLst>
                              <p:par>
                                <p:cTn id="8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6250"/>
                            </p:stCondLst>
                            <p:childTnLst>
                              <p:par>
                                <p:cTn id="9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25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500"/>
                            </p:stCondLst>
                            <p:childTnLst>
                              <p:par>
                                <p:cTn id="9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000"/>
                            </p:stCondLst>
                            <p:childTnLst>
                              <p:par>
                                <p:cTn id="10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25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7250"/>
                            </p:stCondLst>
                            <p:childTnLst>
                              <p:par>
                                <p:cTn id="10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7750"/>
                            </p:stCondLst>
                            <p:childTnLst>
                              <p:par>
                                <p:cTn id="1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2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2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25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8000"/>
                            </p:stCondLst>
                            <p:childTnLst>
                              <p:par>
                                <p:cTn id="1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8500"/>
                            </p:stCondLst>
                            <p:childTnLst>
                              <p:par>
                                <p:cTn id="1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2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2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2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8750"/>
                            </p:stCondLst>
                            <p:childTnLst>
                              <p:par>
                                <p:cTn id="1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9250"/>
                            </p:stCondLst>
                            <p:childTnLst>
                              <p:par>
                                <p:cTn id="1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2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25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25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9500"/>
                            </p:stCondLst>
                            <p:childTnLst>
                              <p:par>
                                <p:cTn id="13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0000"/>
                            </p:stCondLst>
                            <p:childTnLst>
                              <p:par>
                                <p:cTn id="14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10500"/>
                            </p:stCondLst>
                            <p:childTnLst>
                              <p:par>
                                <p:cTn id="14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11000"/>
                            </p:stCondLst>
                            <p:childTnLst>
                              <p:par>
                                <p:cTn id="15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11500"/>
                            </p:stCondLst>
                            <p:childTnLst>
                              <p:par>
                                <p:cTn id="16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>
                            <p:stCondLst>
                              <p:cond delay="12000"/>
                            </p:stCondLst>
                            <p:childTnLst>
                              <p:par>
                                <p:cTn id="16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2500"/>
                            </p:stCondLst>
                            <p:childTnLst>
                              <p:par>
                                <p:cTn id="17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13000"/>
                            </p:stCondLst>
                            <p:childTnLst>
                              <p:par>
                                <p:cTn id="17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13500"/>
                            </p:stCondLst>
                            <p:childTnLst>
                              <p:par>
                                <p:cTn id="18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7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 animBg="1"/>
      <p:bldP spid="99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26571" y="404949"/>
            <a:ext cx="11596191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o, what are the components we need to work with dataconnectors in PowerBI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2514" y="1227909"/>
            <a:ext cx="1084465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- M function through advanced editor.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1074" y="2461498"/>
            <a:ext cx="1084465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- Visual Studio 2017.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22514" y="3136127"/>
            <a:ext cx="1084465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- PowerQuery SDK.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2514" y="3811603"/>
            <a:ext cx="1084465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- VS Auto Deploy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7999" y="3744300"/>
            <a:ext cx="5921132" cy="294627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31074" y="1770538"/>
            <a:ext cx="1084465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- Enable custom data connectors and also create a folder.</a:t>
            </a:r>
            <a:endParaRPr lang="en-GB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56989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7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17862" y="341700"/>
            <a:ext cx="116048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https://visualstudio.microsoft.com/downloads/?utm_medium=microsoft&amp;utm_source=docs.microsoft.com&amp;utm_campaign=button+cta&amp;utm_content=download+vs2017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596" y="1411137"/>
            <a:ext cx="9917430" cy="472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836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8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17862" y="245069"/>
            <a:ext cx="97144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https://marketplace.visualstudio.com/items?itemName=Dakahn.PowerQuerySDK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862" y="614401"/>
            <a:ext cx="9354900" cy="304706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35428" y="3846131"/>
            <a:ext cx="100052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https://marketplace.visualstudio.com/items?itemName=lennyomg.AutoDeplo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428" y="4215463"/>
            <a:ext cx="7797059" cy="2510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21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9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191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B Product Families 2013">
  <a:themeElements>
    <a:clrScheme name="Custom 4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DC3C00"/>
      </a:accent1>
      <a:accent2>
        <a:srgbClr val="FF8C00"/>
      </a:accent2>
      <a:accent3>
        <a:srgbClr val="0072C6"/>
      </a:accent3>
      <a:accent4>
        <a:srgbClr val="008272"/>
      </a:accent4>
      <a:accent5>
        <a:srgbClr val="68217A"/>
      </a:accent5>
      <a:accent6>
        <a:srgbClr val="00BCF2"/>
      </a:accent6>
      <a:hlink>
        <a:srgbClr val="D2D2D2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DAB7D18-9A9C-442A-B50E-F6F6DCC92343}" vid="{626FD01B-D220-44C7-964F-5ACF063E0159}"/>
    </a:ext>
  </a:extLst>
</a:theme>
</file>

<file path=ppt/theme/theme10.xml><?xml version="1.0" encoding="utf-8"?>
<a:theme xmlns:a="http://schemas.openxmlformats.org/drawingml/2006/main" name="2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1.xml><?xml version="1.0" encoding="utf-8"?>
<a:theme xmlns:a="http://schemas.openxmlformats.org/drawingml/2006/main" name="5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2.xml><?xml version="1.0" encoding="utf-8"?>
<a:theme xmlns:a="http://schemas.openxmlformats.org/drawingml/2006/main" name="3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07B3E290-5A9F-466B-B48F-03423F871227}" vid="{2FDE698B-BE5B-4706-AA82-1865D512E0D0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3.xml><?xml version="1.0" encoding="utf-8"?>
<a:theme xmlns:a="http://schemas.openxmlformats.org/drawingml/2006/main" name="2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E49EA6DA-94D8-45DC-A9F2-0C4322309D29}" vid="{B53B337B-29AC-4FFD-92F8-9CB5DFE2CCB6}"/>
    </a:ext>
  </a:extLst>
</a:theme>
</file>

<file path=ppt/theme/theme4.xml><?xml version="1.0" encoding="utf-8"?>
<a:theme xmlns:a="http://schemas.openxmlformats.org/drawingml/2006/main" name="3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5.xml><?xml version="1.0" encoding="utf-8"?>
<a:theme xmlns:a="http://schemas.openxmlformats.org/drawingml/2006/main" name="2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6.xml><?xml version="1.0" encoding="utf-8"?>
<a:theme xmlns:a="http://schemas.openxmlformats.org/drawingml/2006/main" name="3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7.xml><?xml version="1.0" encoding="utf-8"?>
<a:theme xmlns:a="http://schemas.openxmlformats.org/drawingml/2006/main" name="1_5-30610_Microsoft_Ignite_Keynote_Template">
  <a:themeElements>
    <a:clrScheme name="Ignite - Breakout - Gray Back">
      <a:dk1>
        <a:srgbClr val="000000"/>
      </a:dk1>
      <a:lt1>
        <a:srgbClr val="FFFFFF"/>
      </a:lt1>
      <a:dk2>
        <a:srgbClr val="505050"/>
      </a:dk2>
      <a:lt2>
        <a:srgbClr val="47D8FF"/>
      </a:lt2>
      <a:accent1>
        <a:srgbClr val="0078D7"/>
      </a:accent1>
      <a:accent2>
        <a:srgbClr val="5C2D91"/>
      </a:accent2>
      <a:accent3>
        <a:srgbClr val="B4009E"/>
      </a:accent3>
      <a:accent4>
        <a:srgbClr val="00BCF2"/>
      </a:accent4>
      <a:accent5>
        <a:srgbClr val="BAD80A"/>
      </a:accent5>
      <a:accent6>
        <a:srgbClr val="FF8C00"/>
      </a:accent6>
      <a:hlink>
        <a:srgbClr val="47D8FF"/>
      </a:hlink>
      <a:folHlink>
        <a:srgbClr val="47D8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398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16814">
                  <a:srgbClr val="FFFFFF"/>
                </a:gs>
                <a:gs pos="46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Breakout_Template.potx" id="{1A2CE55D-C0EF-4064-A39F-620642E032AA}" vid="{A3A9C9DA-6617-4D3E-A382-CDB23C8F3BF1}"/>
    </a:ext>
  </a:extLst>
</a:theme>
</file>

<file path=ppt/theme/theme8.xml><?xml version="1.0" encoding="utf-8"?>
<a:theme xmlns:a="http://schemas.openxmlformats.org/drawingml/2006/main" name="4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9.xml><?xml version="1.0" encoding="utf-8"?>
<a:theme xmlns:a="http://schemas.openxmlformats.org/drawingml/2006/main" name="4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haredContentType xmlns="Microsoft.SharePoint.Taxonomy.ContentTypeSync" SourceId="e385fb40-52d4-4fae-9c5b-3e8ff8a5878e" ContentTypeId="0x0101000E4CB7077FEE4FF7AE86D4A500EEC78003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KCDoc" ma:contentTypeID="0x0101000E4CB7077FEE4FF7AE86D4A500EEC7800300C6CD36C6B4DAA64EAACFCCF5D9298AA000B09CC05C6355444CB49B4B62F83D23B8" ma:contentTypeVersion="43" ma:contentTypeDescription="" ma:contentTypeScope="" ma:versionID="529c3d1a1ff7547e8cab9af9dc74631e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ad820760-4664-4be3-bee2-f8b9a6708b4c" xmlns:ns4="http://schemas.microsoft.com/sharepoint/v4" targetNamespace="http://schemas.microsoft.com/office/2006/metadata/properties" ma:root="true" ma:fieldsID="d263f6792e3b868d0f42c9b986651ab9" ns1:_="" ns2:_="" ns3:_="" ns4:_="">
    <xsd:import namespace="http://schemas.microsoft.com/sharepoint/v3"/>
    <xsd:import namespace="230e9df3-be65-4c73-a93b-d1236ebd677e"/>
    <xsd:import namespace="ad820760-4664-4be3-bee2-f8b9a6708b4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3:PublishDate" minOccurs="0"/>
                <xsd:element ref="ns1:PublishingExpirationDate" minOccurs="0"/>
                <xsd:element ref="ns1:AverageRating" minOccurs="0"/>
                <xsd:element ref="ns2:Thumbnail1" minOccurs="0"/>
                <xsd:element ref="ns1:PublishingPageContent" minOccurs="0"/>
                <xsd:element ref="ns1:RatingCount" minOccurs="0"/>
                <xsd:element ref="ns2:Owner" minOccurs="0"/>
                <xsd:element ref="ns2:LCA_x0020_Approved" minOccurs="0"/>
                <xsd:element ref="ns2:Expire_x0020_Review" minOccurs="0"/>
                <xsd:element ref="ns3:DocumentSetKcId" minOccurs="0"/>
                <xsd:element ref="ns3:CoOwner" minOccurs="0"/>
                <xsd:element ref="ns3:MediaTitle" minOccurs="0"/>
                <xsd:element ref="ns2:hd9637eefc984b85b6097c6374e15725" minOccurs="0"/>
                <xsd:element ref="ns2:l3c3ea61849e4288a8acc49bb5388e8c" minOccurs="0"/>
                <xsd:element ref="ns1:RoutingRuleDescription" minOccurs="0"/>
                <xsd:element ref="ns2:i0d941ee1e744ffea7aeee9924c91cbb" minOccurs="0"/>
                <xsd:element ref="ns2:TaxCatchAllLabel" minOccurs="0"/>
                <xsd:element ref="ns2:k21a64daf20d4502b2796a1c6b8ce6c8" minOccurs="0"/>
                <xsd:element ref="ns2:TaxCatchAll" minOccurs="0"/>
                <xsd:element ref="ns2:ef109fd36bcf4bcd9dd945731030600b" minOccurs="0"/>
                <xsd:element ref="ns2:mb88723863e1404388ba3733387d48df" minOccurs="0"/>
                <xsd:element ref="ns2:kf34bcdc8fc34e479d3f94c6210e8e27" minOccurs="0"/>
                <xsd:element ref="ns2:_dlc_DocIdUrl" minOccurs="0"/>
                <xsd:element ref="ns2:ec5b2ad5c27b45fb8a00a1f27c7ce1ae" minOccurs="0"/>
                <xsd:element ref="ns2:_dlc_DocIdPersistId" minOccurs="0"/>
                <xsd:element ref="ns2:b60f8d2dbb984f349d80d8196897f4d3" minOccurs="0"/>
                <xsd:element ref="ns2:ConfidentialityTaxHTField0" minOccurs="0"/>
                <xsd:element ref="ns3:ApplyWorkflowRules" minOccurs="0"/>
                <xsd:element ref="ns2:k20e0dfa74bf4e44818db03027b0ccd8" minOccurs="0"/>
                <xsd:element ref="ns2:eb54ac91059940029a3cc8a4ff5af673" minOccurs="0"/>
                <xsd:element ref="ns2:i1b478372f814787abd313030b81fcb2" minOccurs="0"/>
                <xsd:element ref="ns4:IconOverlay" minOccurs="0"/>
                <xsd:element ref="ns2:TaxKeywordTaxHTField" minOccurs="0"/>
                <xsd:element ref="ns2:od9986d31974458fb3007746ec0bce5f" minOccurs="0"/>
                <xsd:element ref="ns2:m6c7b4717b6346e6a075a59dd47eac69" minOccurs="0"/>
                <xsd:element ref="ns2:_dlc_DocId" minOccurs="0"/>
                <xsd:element ref="ns3:b1337ea954344dcfb0425a10eee4daa8" minOccurs="0"/>
                <xsd:element ref="ns2:bf80e81150e248c48aa8cffdf0021a1f" minOccurs="0"/>
                <xsd:element ref="ns2:m6d26e40ac264097a006193f92232ec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ExpirationDate" ma:index="4" nillable="true" ma:displayName="Scheduling End Date" ma:internalName="PublishingExpirationDate">
      <xsd:simpleType>
        <xsd:restriction base="dms:Unknown"/>
      </xsd:simpleType>
    </xsd:element>
    <xsd:element name="AverageRating" ma:index="5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PublishingPageContent" ma:index="13" nillable="true" ma:displayName="Page Content" ma:internalName="PublishingPageContent">
      <xsd:simpleType>
        <xsd:restriction base="dms:Unknown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outingRuleDescription" ma:index="36" nillable="true" ma:displayName="Description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Description" ma:description="Alternate description for documents that can be used for display." ma:internalName="DocumentDescription">
      <xsd:simpleType>
        <xsd:restriction base="dms:Note"/>
      </xsd:simpleType>
    </xsd:element>
    <xsd:element name="Thumbnail1" ma:index="12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Owner" ma:index="17" nillable="true" ma:displayName="Owner" ma:description="Must be an FTE" ma:indexed="true" ma:list="UserInfo" ma:SharePointGroup="0" ma:internalName="Owner" ma:readOnly="false" ma:showField="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CA_x0020_Approved" ma:index="23" nillable="true" ma:displayName="LCA Approved" ma:description="This field is for the name of the person from LCA that reviewed and approved the content." ma:list="UserInfo" ma:SharePointGroup="0" ma:internalName="LCA_x0020_Approve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28" nillable="true" ma:displayName="Expiration" ma:format="DateOnly" ma:indexed="true" ma:internalName="Expire_x0020_Review" ma:readOnly="false">
      <xsd:simpleType>
        <xsd:restriction base="dms:DateTime"/>
      </xsd:simpleType>
    </xsd:element>
    <xsd:element name="hd9637eefc984b85b6097c6374e15725" ma:index="34" nillable="true" ma:taxonomy="true" ma:internalName="hd9637eefc984b85b6097c6374e15725" ma:taxonomyFieldName="ItemType" ma:displayName="SMSG Item Type" ma:readOnly="fals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35" nillable="true" ma:taxonomy="true" ma:internalName="l3c3ea61849e4288a8acc49bb5388e8c" ma:taxonomyFieldName="Groups" ma:displayName="SMSG Groups" ma:readOnly="false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37" nillable="true" ma:taxonomy="true" ma:internalName="i0d941ee1e744ffea7aeee9924c91cbb" ma:taxonomyFieldName="BusinessArchitecture" ma:displayName="SMSG Business Architecture" ma:readOnly="fals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TaxCatchAllLabel" ma:index="38" nillable="true" ma:displayName="Taxonomy Catch All Column1" ma:hidden="true" ma:list="{341bdb36-d19b-4bce-9fa6-6145346cf024}" ma:internalName="TaxCatchAllLabel" ma:readOnly="true" ma:showField="CatchAllDataLabel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1a64daf20d4502b2796a1c6b8ce6c8" ma:index="40" nillable="true" ma:taxonomy="true" ma:internalName="k21a64daf20d4502b2796a1c6b8ce6c8" ma:taxonomyFieldName="Industries" ma:displayName="SMSG Industries" ma:readOnly="false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TaxCatchAll" ma:index="41" nillable="true" ma:displayName="Taxonomy Catch All Column" ma:hidden="true" ma:list="{341bdb36-d19b-4bce-9fa6-6145346cf024}" ma:internalName="TaxCatchAll" ma:showField="CatchAllData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f109fd36bcf4bcd9dd945731030600b" ma:index="42" nillable="true" ma:taxonomy="true" ma:internalName="ef109fd36bcf4bcd9dd945731030600b" ma:taxonomyFieldName="Region" ma:displayName="SMSG Region" ma:readOnly="false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43" nillable="true" ma:taxonomy="true" ma:internalName="mb88723863e1404388ba3733387d48df" ma:taxonomyFieldName="Audiences" ma:displayName="SMSG Customer Audiences" ma:readOnly="false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44" nillable="true" ma:taxonomy="true" ma:internalName="kf34bcdc8fc34e479d3f94c6210e8e27" ma:taxonomyFieldName="Competitors" ma:displayName="SMSG Competition" ma:readOnly="false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_dlc_DocIdUrl" ma:index="4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ec5b2ad5c27b45fb8a00a1f27c7ce1ae" ma:index="46" nillable="true" ma:taxonomy="true" ma:internalName="ec5b2ad5c27b45fb8a00a1f27c7ce1ae" ma:taxonomyFieldName="Partners" ma:displayName="SMSG Partners" ma:readOnly="false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_dlc_DocIdPersistId" ma:index="4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b60f8d2dbb984f349d80d8196897f4d3" ma:index="48" nillable="true" ma:taxonomy="true" ma:internalName="b60f8d2dbb984f349d80d8196897f4d3" ma:taxonomyFieldName="Roles" ma:displayName="SMSG Roles" ma:readOnly="false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49" nillable="true" ma:taxonomy="true" ma:internalName="ConfidentialityTaxHTField0" ma:taxonomyFieldName="Confidentiality" ma:displayName="Confidentiality" ma:indexed="true" ma:readOnly="false" ma:default="1;#Microsoft confidential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20e0dfa74bf4e44818db03027b0ccd8" ma:index="51" nillable="true" ma:taxonomy="true" ma:internalName="k20e0dfa74bf4e44818db03027b0ccd8" ma:taxonomyFieldName="Segments" ma:displayName="SMSG Customer Segments" ma:readOnly="false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eb54ac91059940029a3cc8a4ff5af673" ma:index="53" nillable="true" ma:taxonomy="true" ma:internalName="eb54ac91059940029a3cc8a4ff5af673" ma:taxonomyFieldName="SMSGDomain" ma:displayName="SMSG Domain" ma:readOnly="false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54" nillable="true" ma:taxonomy="true" ma:internalName="i1b478372f814787abd313030b81fcb2" ma:taxonomyFieldName="ActivitiesAndPrograms" ma:displayName="SMSG Activities &amp; Programs" ma:readOnly="false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TaxKeywordTaxHTField" ma:index="58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od9986d31974458fb3007746ec0bce5f" ma:index="59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m6c7b4717b6346e6a075a59dd47eac69" ma:index="60" nillable="true" ma:taxonomy="true" ma:internalName="m6c7b4717b6346e6a075a59dd47eac69" ma:taxonomyFieldName="Topics" ma:displayName="SMSG Topics" ma:readOnly="false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_dlc_DocId" ma:index="61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5" nillable="true" ma:taxonomy="true" ma:internalName="bf80e81150e248c48aa8cffdf0021a1f" ma:taxonomyFieldName="Products" ma:displayName="SMSG Products &amp; Technologies" ma:readOnly="false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66" nillable="true" ma:taxonomy="true" ma:internalName="m6d26e40ac264097a006193f92232ece" ma:taxonomyFieldName="TechnicalLevel" ma:displayName="Technical Level" ma:readOnly="false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20760-4664-4be3-bee2-f8b9a6708b4c" elementFormDefault="qualified">
    <xsd:import namespace="http://schemas.microsoft.com/office/2006/documentManagement/types"/>
    <xsd:import namespace="http://schemas.microsoft.com/office/infopath/2007/PartnerControls"/>
    <xsd:element name="PublishDate" ma:index="3" nillable="true" ma:displayName="PublishDate" ma:description="Used in Blog Posts and documents." ma:format="DateOnly" ma:indexed="true" ma:internalName="PublishDate">
      <xsd:simpleType>
        <xsd:restriction base="dms:DateTime"/>
      </xsd:simpleType>
    </xsd:element>
    <xsd:element name="DocumentSetKcId" ma:index="31" nillable="true" ma:displayName="DocumentSetKcId" ma:description="Custom Column used to capture Document ID to share with DocumentSet Contents" ma:indexed="true" ma:internalName="DocumentSetKcId" ma:readOnly="false">
      <xsd:simpleType>
        <xsd:restriction base="dms:Text">
          <xsd:maxLength value="255"/>
        </xsd:restriction>
      </xsd:simpleType>
    </xsd:element>
    <xsd:element name="CoOwner" ma:index="32" nillable="true" ma:displayName="Co-Owner" ma:description="Co-Owner" ma:list="UserInfo" ma:SharePointGroup="0" ma:internalName="CoOwner" ma:readOnly="false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Title" ma:index="33" nillable="true" ma:displayName="BlogPostID" ma:description="Blog Post ID to link documents on the blog post." ma:internalName="MediaTitle" ma:readOnly="false">
      <xsd:simpleType>
        <xsd:restriction base="dms:Text">
          <xsd:maxLength value="255"/>
        </xsd:restriction>
      </xsd:simpleType>
    </xsd:element>
    <xsd:element name="ApplyWorkflowRules" ma:index="50" nillable="true" ma:displayName="ApplyWorkflowRules" ma:default="Yes" ma:description="This columns is used to help to apply the workflow rules on Document Sets / Documents. by Default the Value is Yes" ma:format="Dropdown" ma:hidden="true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  <xsd:element name="b1337ea954344dcfb0425a10eee4daa8" ma:index="63" nillable="true" ma:taxonomy="true" ma:internalName="b1337ea954344dcfb0425a10eee4daa8" ma:taxonomyFieldName="EnterpriseDomainTags" ma:displayName="EnterpriseDomainTags" ma:default="" ma:fieldId="{b1337ea9-5434-4dcf-b042-5a10eee4daa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This is a level 200 deck that outlines the Power BI capabilities. It is a more detailed deck that accompanies the level 100 Power BI launch deck. It is intended to complement the Power BI IT Pro Level 200 Deck.</DocumentDescription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presentations</TermName>
          <TermId xmlns="http://schemas.microsoft.com/office/infopath/2007/PartnerControls">83a894cf-702b-47fc-aba5-41bd10dc1e75</TermId>
        </TermInfo>
      </Terms>
    </hd9637eefc984b85b6097c6374e15725>
    <k20e0dfa74bf4e44818db03027b0ccd8 xmlns="230e9df3-be65-4c73-a93b-d1236ebd677e">
      <Terms xmlns="http://schemas.microsoft.com/office/infopath/2007/PartnerControls"/>
    </k20e0dfa74bf4e44818db03027b0ccd8>
    <od9986d31974458fb3007746ec0bce5f xmlns="230e9df3-be65-4c73-a93b-d1236ebd677e">
      <Terms xmlns="http://schemas.microsoft.com/office/infopath/2007/PartnerControls"/>
    </od9986d31974458fb3007746ec0bce5f>
    <Owner xmlns="230e9df3-be65-4c73-a93b-d1236ebd677e">
      <UserInfo>
        <DisplayName>Sanjay Soni</DisplayName>
        <AccountId>20060</AccountId>
        <AccountType/>
      </UserInfo>
    </Owner>
    <k21a64daf20d4502b2796a1c6b8ce6c8 xmlns="230e9df3-be65-4c73-a93b-d1236ebd677e">
      <Terms xmlns="http://schemas.microsoft.com/office/infopath/2007/PartnerControls"/>
    </k21a64daf20d4502b2796a1c6b8ce6c8>
    <Expire_x0020_Review xmlns="230e9df3-be65-4c73-a93b-d1236ebd677e">2016-08-08T07:00:00+00:00</Expire_x0020_Review>
    <l3c3ea61849e4288a8acc49bb5388e8c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Marketing</TermName>
          <TermId xmlns="http://schemas.microsoft.com/office/infopath/2007/PartnerControls">bb7921b3-c1d8-4da4-b894-8b6075d9546d</TermId>
        </TermInfo>
        <TermInfo xmlns="http://schemas.microsoft.com/office/infopath/2007/PartnerControls">
          <TermName xmlns="http://schemas.microsoft.com/office/infopath/2007/PartnerControls">Cloud and Enterprise Marketing Group</TermName>
          <TermId xmlns="http://schemas.microsoft.com/office/infopath/2007/PartnerControls">4f75e184-e5aa-4234-a07f-b032d60df254</TermId>
        </TermInfo>
      </Terms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ApplyWorkflowRules xmlns="ad820760-4664-4be3-bee2-f8b9a6708b4c">No</ApplyWorkflowRules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Domain</TermName>
          <TermId xmlns="http://schemas.microsoft.com/office/infopath/2007/PartnerControls">0c0f1824-39dc-4b26-8c74-eff4364b812b</TermId>
        </TermInfo>
        <TermInfo xmlns="http://schemas.microsoft.com/office/infopath/2007/PartnerControls">
          <TermName xmlns="http://schemas.microsoft.com/office/infopath/2007/PartnerControls">Server and Tools Business</TermName>
          <TermId xmlns="http://schemas.microsoft.com/office/infopath/2007/PartnerControls">6783548d-8609-4f97-be4a-4ca2616905a6</TermId>
        </TermInfo>
      </Terms>
    </eb54ac91059940029a3cc8a4ff5af673>
    <PublishingPageContent xmlns="http://schemas.microsoft.com/sharepoint/v3" xsi:nil="true"/>
    <MediaTitle xmlns="ad820760-4664-4be3-bee2-f8b9a6708b4c" xsi:nil="true"/>
    <IconOverlay xmlns="http://schemas.microsoft.com/sharepoint/v4" xsi:nil="true"/>
    <ef109fd36bcf4bcd9dd945731030600b xmlns="230e9df3-be65-4c73-a93b-d1236ebd677e">
      <Terms xmlns="http://schemas.microsoft.com/office/infopath/2007/PartnerControls"/>
    </ef109fd36bcf4bcd9dd945731030600b>
    <PublishDate xmlns="ad820760-4664-4be3-bee2-f8b9a6708b4c" xsi:nil="true"/>
    <LCA_x0020_Approved xmlns="230e9df3-be65-4c73-a93b-d1236ebd677e">
      <UserInfo>
        <DisplayName/>
        <AccountId xsi:nil="true"/>
        <AccountType/>
      </UserInfo>
    </LCA_x0020_Approved>
    <ec5b2ad5c27b45fb8a00a1f27c7ce1ae xmlns="230e9df3-be65-4c73-a93b-d1236ebd677e">
      <Terms xmlns="http://schemas.microsoft.com/office/infopath/2007/PartnerControls"/>
    </ec5b2ad5c27b45fb8a00a1f27c7ce1ae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SQL Server</TermName>
          <TermId xmlns="http://schemas.microsoft.com/office/infopath/2007/PartnerControls">261ba873-f3ab-420e-96d6-e3004596a551</TermId>
        </TermInfo>
        <TermInfo xmlns="http://schemas.microsoft.com/office/infopath/2007/PartnerControls">
          <TermName xmlns="http://schemas.microsoft.com/office/infopath/2007/PartnerControls">Microsoft SQL Server Business Intelligence</TermName>
          <TermId xmlns="http://schemas.microsoft.com/office/infopath/2007/PartnerControls">9ffb7045-1f1b-41c0-987f-ffdc7c6f53c0</TermId>
        </TermInfo>
      </Terms>
    </bf80e81150e248c48aa8cffdf0021a1f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://infopedia/kc02/media/Thumbnails/SQL Server Domain/KC02-23-74586/Power BI Capability Deck L200.png</Url>
      <Description>/kc02/media/Thumbnails/SQL Server Domain/KC02-23-74586/Power BI Capability Deck L200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intelligence</TermName>
          <TermId xmlns="http://schemas.microsoft.com/office/infopath/2007/PartnerControls">e1f9659f-bde9-4479-81f9-2bc6e8ec0057</TermId>
        </TermInfo>
      </Terms>
    </i0d941ee1e744ffea7aeee9924c91cbb>
    <PublishingExpirationDate xmlns="http://schemas.microsoft.com/sharepoint/v3" xsi:nil="true"/>
    <RoutingRuleDescription xmlns="http://schemas.microsoft.com/sharepoint/v3" xsi:nil="true"/>
    <DocumentSetKcId xmlns="ad820760-4664-4be3-bee2-f8b9a6708b4c">74586</DocumentSetKcId>
    <CoOwner xmlns="ad820760-4664-4be3-bee2-f8b9a6708b4c">
      <UserInfo>
        <DisplayName>i:0#.w|redmond\meeryan</DisplayName>
        <AccountId>6624</AccountId>
        <AccountType/>
      </UserInfo>
      <UserInfo>
        <DisplayName>i:0#.w|redmond\v-anmarv</DisplayName>
        <AccountId>62976</AccountId>
        <AccountType/>
      </UserInfo>
      <UserInfo>
        <DisplayName>i:0#.w|redmond\chrisper</DisplayName>
        <AccountId>49210</AccountId>
        <AccountType/>
      </UserInfo>
    </CoOwner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TaxCatchAll xmlns="230e9df3-be65-4c73-a93b-d1236ebd677e">
      <Value>31</Value>
      <Value>13</Value>
      <Value>216</Value>
      <Value>311</Value>
      <Value>262</Value>
      <Value>762</Value>
      <Value>566</Value>
      <Value>156</Value>
      <Value>2324</Value>
    </TaxCatchAll>
    <mb88723863e1404388ba3733387d48df xmlns="230e9df3-be65-4c73-a93b-d1236ebd677e">
      <Terms xmlns="http://schemas.microsoft.com/office/infopath/2007/PartnerControls"/>
    </mb88723863e1404388ba3733387d48df>
    <b1337ea954344dcfb0425a10eee4daa8 xmlns="ad820760-4664-4be3-bee2-f8b9a6708b4c">
      <Terms xmlns="http://schemas.microsoft.com/office/infopath/2007/PartnerControls"/>
    </b1337ea954344dcfb0425a10eee4daa8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KC02-23-74598</_dlc_DocId>
    <_dlc_DocIdUrl xmlns="230e9df3-be65-4c73-a93b-d1236ebd677e">
      <Url>http://infopedia/kc02/docstore/_layouts/DocIdRedir.aspx?ID=KC02-23-74598</Url>
      <Description>KC02-23-74598</Description>
    </_dlc_DocIdUrl>
    <AverageRating xmlns="http://schemas.microsoft.com/sharepoint/v3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Set ItemUpdated</Name>
    <Synchronization>Synchronous</Synchronization>
    <Type>10002</Type>
    <SequenceNumber>100</SequenceNumber>
    <Url/>
    <Assembly>Microsoft.Office.DocumentManagement, Version=15.0.0.0, Culture=neutral, PublicKeyToken=71e9bce111e9429c</Assembly>
    <Class>Microsoft.Office.DocumentManagement.DocumentSets.DocumentSetEventReceiver</Class>
    <Data/>
    <Filter/>
  </Receiver>
  <Receiver>
    <Name>DocumentSet ItemAdded</Name>
    <Synchronization>Synchronous</Synchronization>
    <Type>10001</Type>
    <SequenceNumber>100</SequenceNumber>
    <Url/>
    <Assembly>Microsoft.Office.DocumentManagement, Version=15.0.0.0, Culture=neutral, PublicKeyToken=71e9bce111e9429c</Assembly>
    <Class>Microsoft.Office.DocumentManagement.DocumentSets.DocumentSetItemsEventReceiver</Class>
    <Data/>
    <Filter/>
  </Receiver>
</spe:Receivers>
</file>

<file path=customXml/itemProps1.xml><?xml version="1.0" encoding="utf-8"?>
<ds:datastoreItem xmlns:ds="http://schemas.openxmlformats.org/officeDocument/2006/customXml" ds:itemID="{124D2FD4-8DE7-448F-A1FC-782C2ABE009F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71875FBF-3EA2-42EF-9D78-0DE73C6296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ad820760-4664-4be3-bee2-f8b9a6708b4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F809753-BD6D-417D-881F-81452428E4F9}">
  <ds:schemaRefs>
    <ds:schemaRef ds:uri="http://purl.org/dc/dcmitype/"/>
    <ds:schemaRef ds:uri="http://schemas.microsoft.com/sharepoint/v4"/>
    <ds:schemaRef ds:uri="http://purl.org/dc/elements/1.1/"/>
    <ds:schemaRef ds:uri="230e9df3-be65-4c73-a93b-d1236ebd677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ad820760-4664-4be3-bee2-f8b9a6708b4c"/>
    <ds:schemaRef ds:uri="http://schemas.microsoft.com/sharepoint/v3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C9809EFA-06F1-4B23-94EC-7EFD876B5350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224D1A93-209C-4802-BFDE-A8C210095D2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962</TotalTime>
  <Words>531</Words>
  <Application>Microsoft Office PowerPoint</Application>
  <PresentationFormat>Widescreen</PresentationFormat>
  <Paragraphs>157</Paragraphs>
  <Slides>2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53" baseType="lpstr">
      <vt:lpstr>Arial</vt:lpstr>
      <vt:lpstr>Bodoni MT</vt:lpstr>
      <vt:lpstr>Calibri</vt:lpstr>
      <vt:lpstr>Consolas</vt:lpstr>
      <vt:lpstr>Courier New</vt:lpstr>
      <vt:lpstr>Ebrima</vt:lpstr>
      <vt:lpstr>Leelawadee UI</vt:lpstr>
      <vt:lpstr>Open Sans</vt:lpstr>
      <vt:lpstr>Segoe UI</vt:lpstr>
      <vt:lpstr>Segoe UI Light</vt:lpstr>
      <vt:lpstr>Segoe UI Semibold</vt:lpstr>
      <vt:lpstr>Tahoma</vt:lpstr>
      <vt:lpstr>Tw Cen MT</vt:lpstr>
      <vt:lpstr>Wingdings</vt:lpstr>
      <vt:lpstr>STB Product Families 2013</vt:lpstr>
      <vt:lpstr>Power BI Template</vt:lpstr>
      <vt:lpstr>2_WHITE TEMPLATE</vt:lpstr>
      <vt:lpstr>3_LIGHT COLOR TEMPLATE</vt:lpstr>
      <vt:lpstr>2_Power BI Template</vt:lpstr>
      <vt:lpstr>3_Power BI Template</vt:lpstr>
      <vt:lpstr>1_5-30610_Microsoft_Ignite_Keynote_Template</vt:lpstr>
      <vt:lpstr>4_Power BI Template</vt:lpstr>
      <vt:lpstr>4_LIGHT COLOR TEMPLATE</vt:lpstr>
      <vt:lpstr>2_LIGHT COLOR TEMPLATE</vt:lpstr>
      <vt:lpstr>5_LIGHT COLOR TEMPLATE</vt:lpstr>
      <vt:lpstr>3_WHITE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you for Coming to PowerB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BI Capability Deck Level 200</dc:title>
  <dc:creator>Sanjay Soni</dc:creator>
  <cp:keywords/>
  <cp:lastModifiedBy>Black Widow</cp:lastModifiedBy>
  <cp:revision>1877</cp:revision>
  <cp:lastPrinted>2015-05-19T00:06:12Z</cp:lastPrinted>
  <dcterms:created xsi:type="dcterms:W3CDTF">2015-05-11T15:24:15Z</dcterms:created>
  <dcterms:modified xsi:type="dcterms:W3CDTF">2018-06-23T16:2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4CB7077FEE4FF7AE86D4A500EEC7800300C6CD36C6B4DAA64EAACFCCF5D9298AA000B09CC05C6355444CB49B4B62F83D23B8</vt:lpwstr>
  </property>
  <property fmtid="{D5CDD505-2E9C-101B-9397-08002B2CF9AE}" pid="3" name="p1cd454bacc149bfbcfd764edd279de7">
    <vt:lpwstr/>
  </property>
  <property fmtid="{D5CDD505-2E9C-101B-9397-08002B2CF9AE}" pid="4" name="TaxKeyword">
    <vt:lpwstr/>
  </property>
  <property fmtid="{D5CDD505-2E9C-101B-9397-08002B2CF9AE}" pid="5" name="_dlc_policyId">
    <vt:lpwstr/>
  </property>
  <property fmtid="{D5CDD505-2E9C-101B-9397-08002B2CF9AE}" pid="6" name="Region">
    <vt:lpwstr/>
  </property>
  <property fmtid="{D5CDD505-2E9C-101B-9397-08002B2CF9AE}" pid="7" name="Confidentiality">
    <vt:lpwstr>216;#customer ready|8986c41d-21c5-4f8f-8a12-ea4625b46858</vt:lpwstr>
  </property>
  <property fmtid="{D5CDD505-2E9C-101B-9397-08002B2CF9AE}" pid="8" name="ItemType">
    <vt:lpwstr>31;#technical presentations|83a894cf-702b-47fc-aba5-41bd10dc1e75</vt:lpwstr>
  </property>
  <property fmtid="{D5CDD505-2E9C-101B-9397-08002B2CF9AE}" pid="9" name="bc28b5f076654a3b96073bbbebfeb8c9">
    <vt:lpwstr/>
  </property>
  <property fmtid="{D5CDD505-2E9C-101B-9397-08002B2CF9AE}" pid="10" name="Industries">
    <vt:lpwstr/>
  </property>
  <property fmtid="{D5CDD505-2E9C-101B-9397-08002B2CF9AE}" pid="11" name="MSProducts">
    <vt:lpwstr/>
  </property>
  <property fmtid="{D5CDD505-2E9C-101B-9397-08002B2CF9AE}" pid="12" name="j4d667fb28274e85b2214f6e751c8d1f">
    <vt:lpwstr/>
  </property>
  <property fmtid="{D5CDD505-2E9C-101B-9397-08002B2CF9AE}" pid="13" name="Competitors">
    <vt:lpwstr/>
  </property>
  <property fmtid="{D5CDD505-2E9C-101B-9397-08002B2CF9AE}" pid="14" name="SMSGDomain">
    <vt:lpwstr>566;#SQL Server Domain|0c0f1824-39dc-4b26-8c74-eff4364b812b;#156;#Server and Tools Business|6783548d-8609-4f97-be4a-4ca2616905a6</vt:lpwstr>
  </property>
  <property fmtid="{D5CDD505-2E9C-101B-9397-08002B2CF9AE}" pid="15" name="ItemRetentionFormula">
    <vt:lpwstr/>
  </property>
  <property fmtid="{D5CDD505-2E9C-101B-9397-08002B2CF9AE}" pid="16" name="BusinessArchitecture">
    <vt:lpwstr>13;#business intelligence|e1f9659f-bde9-4479-81f9-2bc6e8ec0057</vt:lpwstr>
  </property>
  <property fmtid="{D5CDD505-2E9C-101B-9397-08002B2CF9AE}" pid="17" name="SMSGTags">
    <vt:lpwstr/>
  </property>
  <property fmtid="{D5CDD505-2E9C-101B-9397-08002B2CF9AE}" pid="18" name="j031aa32f4154c8c9a646efae715ebde">
    <vt:lpwstr/>
  </property>
  <property fmtid="{D5CDD505-2E9C-101B-9397-08002B2CF9AE}" pid="19" name="Products">
    <vt:lpwstr>262;#Microsoft SQL Server|261ba873-f3ab-420e-96d6-e3004596a551;#2324;#Microsoft SQL Server Business Intelligence|9ffb7045-1f1b-41c0-987f-ffdc7c6f53c0</vt:lpwstr>
  </property>
  <property fmtid="{D5CDD505-2E9C-101B-9397-08002B2CF9AE}" pid="20" name="_dlc_DocIdItemGuid">
    <vt:lpwstr>4e483f87-ffd0-4047-bcc2-6a36cef5fcd3</vt:lpwstr>
  </property>
  <property fmtid="{D5CDD505-2E9C-101B-9397-08002B2CF9AE}" pid="21" name="EnterpriseDomainTags">
    <vt:lpwstr/>
  </property>
  <property fmtid="{D5CDD505-2E9C-101B-9397-08002B2CF9AE}" pid="22" name="l311460e3fdf46688abc31ddb7bdc05a">
    <vt:lpwstr/>
  </property>
  <property fmtid="{D5CDD505-2E9C-101B-9397-08002B2CF9AE}" pid="23" name="ActivitiesAndPrograms">
    <vt:lpwstr/>
  </property>
  <property fmtid="{D5CDD505-2E9C-101B-9397-08002B2CF9AE}" pid="24" name="Segments">
    <vt:lpwstr/>
  </property>
  <property fmtid="{D5CDD505-2E9C-101B-9397-08002B2CF9AE}" pid="25" name="Partners">
    <vt:lpwstr/>
  </property>
  <property fmtid="{D5CDD505-2E9C-101B-9397-08002B2CF9AE}" pid="26" name="WorkflowChangePath">
    <vt:lpwstr>4c942473-d120-4286-a51a-b65ad3d92ffb,2;4c942473-d120-4286-a51a-b65ad3d92ffb,2;4c942473-d120-4286-a51a-b65ad3d92ffb,2;4c942473-d120-4286-a51a-b65ad3d92ffb,49;4c942473-d120-4286-a51a-b65ad3d92ffb,68;4c942473-d120-4286-a51a-b65ad3d92ffb,101;4c942473-d120-428</vt:lpwstr>
  </property>
  <property fmtid="{D5CDD505-2E9C-101B-9397-08002B2CF9AE}" pid="27" name="la4444b61d19467597d63190b69ac227">
    <vt:lpwstr/>
  </property>
  <property fmtid="{D5CDD505-2E9C-101B-9397-08002B2CF9AE}" pid="28" name="Topics">
    <vt:lpwstr/>
  </property>
  <property fmtid="{D5CDD505-2E9C-101B-9397-08002B2CF9AE}" pid="29" name="Groups">
    <vt:lpwstr>762;#SQL Server Marketing|bb7921b3-c1d8-4da4-b894-8b6075d9546d;#311;#Cloud and Enterprise Marketing Group|4f75e184-e5aa-4234-a07f-b032d60df254</vt:lpwstr>
  </property>
  <property fmtid="{D5CDD505-2E9C-101B-9397-08002B2CF9AE}" pid="30" name="MSProductsTaxHTField0">
    <vt:lpwstr/>
  </property>
  <property fmtid="{D5CDD505-2E9C-101B-9397-08002B2CF9AE}" pid="31" name="Languages">
    <vt:lpwstr/>
  </property>
  <property fmtid="{D5CDD505-2E9C-101B-9397-08002B2CF9AE}" pid="32" name="_docset_NoMedatataSyncRequired">
    <vt:lpwstr>False</vt:lpwstr>
  </property>
  <property fmtid="{D5CDD505-2E9C-101B-9397-08002B2CF9AE}" pid="33" name="messageframeworktype">
    <vt:lpwstr/>
  </property>
  <property fmtid="{D5CDD505-2E9C-101B-9397-08002B2CF9AE}" pid="34" name="MSLanguage">
    <vt:lpwstr/>
  </property>
  <property fmtid="{D5CDD505-2E9C-101B-9397-08002B2CF9AE}" pid="35" name="cb7870d3641f4a52807a63577a9c1b08">
    <vt:lpwstr/>
  </property>
  <property fmtid="{D5CDD505-2E9C-101B-9397-08002B2CF9AE}" pid="36" name="TechnicalLevel">
    <vt:lpwstr/>
  </property>
  <property fmtid="{D5CDD505-2E9C-101B-9397-08002B2CF9AE}" pid="37" name="Audiences">
    <vt:lpwstr/>
  </property>
  <property fmtid="{D5CDD505-2E9C-101B-9397-08002B2CF9AE}" pid="38" name="LearningOrganization">
    <vt:lpwstr/>
  </property>
  <property fmtid="{D5CDD505-2E9C-101B-9397-08002B2CF9AE}" pid="39" name="EmployeeRole">
    <vt:lpwstr/>
  </property>
  <property fmtid="{D5CDD505-2E9C-101B-9397-08002B2CF9AE}" pid="40" name="LearningDeliveryMethod">
    <vt:lpwstr/>
  </property>
  <property fmtid="{D5CDD505-2E9C-101B-9397-08002B2CF9AE}" pid="41" name="SalesGeography">
    <vt:lpwstr/>
  </property>
  <property fmtid="{D5CDD505-2E9C-101B-9397-08002B2CF9AE}" pid="42" name="Roles">
    <vt:lpwstr/>
  </property>
</Properties>
</file>